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7076" r:id="rId2"/>
    <p:sldId id="7077" r:id="rId3"/>
  </p:sldIdLst>
  <p:sldSz cx="12192000" cy="6858000"/>
  <p:notesSz cx="6797675" cy="9928225"/>
  <p:custDataLst>
    <p:tags r:id="rId6"/>
  </p:custDataLst>
  <p:defaultTextStyle>
    <a:defPPr>
      <a:defRPr lang="de-DE"/>
    </a:defPPr>
    <a:lvl1pPr marL="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981" userDrawn="1">
          <p15:clr>
            <a:srgbClr val="A4A3A4"/>
          </p15:clr>
        </p15:guide>
        <p15:guide id="4" orient="horz" pos="3793" userDrawn="1">
          <p15:clr>
            <a:srgbClr val="A4A3A4"/>
          </p15:clr>
        </p15:guide>
        <p15:guide id="7" pos="257" userDrawn="1">
          <p15:clr>
            <a:srgbClr val="A4A3A4"/>
          </p15:clr>
        </p15:guide>
        <p15:guide id="14" pos="7423" userDrawn="1">
          <p15:clr>
            <a:srgbClr val="A4A3A4"/>
          </p15:clr>
        </p15:guide>
        <p15:guide id="19" pos="3704" userDrawn="1">
          <p15:clr>
            <a:srgbClr val="A4A3A4"/>
          </p15:clr>
        </p15:guide>
        <p15:guide id="20" pos="39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57" autoAdjust="0"/>
  </p:normalViewPr>
  <p:slideViewPr>
    <p:cSldViewPr showGuides="1">
      <p:cViewPr varScale="1">
        <p:scale>
          <a:sx n="114" d="100"/>
          <a:sy n="114" d="100"/>
        </p:scale>
        <p:origin x="414" y="120"/>
      </p:cViewPr>
      <p:guideLst>
        <p:guide orient="horz" pos="981"/>
        <p:guide orient="horz" pos="3793"/>
        <p:guide pos="257"/>
        <p:guide pos="7423"/>
        <p:guide pos="3704"/>
        <p:guide pos="3976"/>
      </p:guideLst>
    </p:cSldViewPr>
  </p:slideViewPr>
  <p:outlineViewPr>
    <p:cViewPr>
      <p:scale>
        <a:sx n="33" d="100"/>
        <a:sy n="33" d="100"/>
      </p:scale>
      <p:origin x="0" y="-27258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3372" y="45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9415" y="205234"/>
            <a:ext cx="4706922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/>
            </a:lvl1pPr>
          </a:lstStyle>
          <a:p>
            <a:pPr lvl="0"/>
            <a:endParaRPr lang="de-DE" sz="9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92EFE50-E9EB-4C4F-9AC9-E418DEB56B20}"/>
              </a:ext>
            </a:extLst>
          </p:cNvPr>
          <p:cNvGrpSpPr/>
          <p:nvPr/>
        </p:nvGrpSpPr>
        <p:grpSpPr>
          <a:xfrm>
            <a:off x="5723798" y="211584"/>
            <a:ext cx="639644" cy="639644"/>
            <a:chOff x="-3889375" y="0"/>
            <a:chExt cx="3600450" cy="3600450"/>
          </a:xfrm>
        </p:grpSpPr>
        <p:sp>
          <p:nvSpPr>
            <p:cNvPr id="9" name="AutoShape 169">
              <a:extLst>
                <a:ext uri="{FF2B5EF4-FFF2-40B4-BE49-F238E27FC236}">
                  <a16:creationId xmlns:a16="http://schemas.microsoft.com/office/drawing/2014/main" id="{30EDA739-07F4-4C28-AAE8-07D30E0C6A1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3889375" y="0"/>
              <a:ext cx="3600450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171">
              <a:extLst>
                <a:ext uri="{FF2B5EF4-FFF2-40B4-BE49-F238E27FC236}">
                  <a16:creationId xmlns:a16="http://schemas.microsoft.com/office/drawing/2014/main" id="{A2D35676-DFD3-44FC-B615-94F30ABBB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889375" y="0"/>
              <a:ext cx="3600450" cy="3600450"/>
            </a:xfrm>
            <a:custGeom>
              <a:avLst/>
              <a:gdLst>
                <a:gd name="T0" fmla="*/ 2268 w 2268"/>
                <a:gd name="T1" fmla="*/ 0 h 2268"/>
                <a:gd name="T2" fmla="*/ 0 w 2268"/>
                <a:gd name="T3" fmla="*/ 0 h 2268"/>
                <a:gd name="T4" fmla="*/ 0 w 2268"/>
                <a:gd name="T5" fmla="*/ 2268 h 2268"/>
                <a:gd name="T6" fmla="*/ 2268 w 2268"/>
                <a:gd name="T7" fmla="*/ 2268 h 2268"/>
                <a:gd name="T8" fmla="*/ 2268 w 2268"/>
                <a:gd name="T9" fmla="*/ 0 h 2268"/>
                <a:gd name="T10" fmla="*/ 2268 w 2268"/>
                <a:gd name="T11" fmla="*/ 0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8" h="2268">
                  <a:moveTo>
                    <a:pt x="2268" y="0"/>
                  </a:moveTo>
                  <a:lnTo>
                    <a:pt x="0" y="0"/>
                  </a:lnTo>
                  <a:lnTo>
                    <a:pt x="0" y="2268"/>
                  </a:lnTo>
                  <a:lnTo>
                    <a:pt x="2268" y="2268"/>
                  </a:lnTo>
                  <a:lnTo>
                    <a:pt x="2268" y="0"/>
                  </a:lnTo>
                  <a:lnTo>
                    <a:pt x="226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72">
              <a:extLst>
                <a:ext uri="{FF2B5EF4-FFF2-40B4-BE49-F238E27FC236}">
                  <a16:creationId xmlns:a16="http://schemas.microsoft.com/office/drawing/2014/main" id="{A701D1B4-89CB-4722-969C-BB373D1405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752850" y="138113"/>
              <a:ext cx="3327400" cy="3325813"/>
            </a:xfrm>
            <a:custGeom>
              <a:avLst/>
              <a:gdLst>
                <a:gd name="T0" fmla="*/ 0 w 2096"/>
                <a:gd name="T1" fmla="*/ 0 h 2095"/>
                <a:gd name="T2" fmla="*/ 0 w 2096"/>
                <a:gd name="T3" fmla="*/ 2095 h 2095"/>
                <a:gd name="T4" fmla="*/ 2096 w 2096"/>
                <a:gd name="T5" fmla="*/ 2095 h 2095"/>
                <a:gd name="T6" fmla="*/ 2096 w 2096"/>
                <a:gd name="T7" fmla="*/ 0 h 2095"/>
                <a:gd name="T8" fmla="*/ 0 w 2096"/>
                <a:gd name="T9" fmla="*/ 0 h 2095"/>
                <a:gd name="T10" fmla="*/ 2009 w 2096"/>
                <a:gd name="T11" fmla="*/ 2008 h 2095"/>
                <a:gd name="T12" fmla="*/ 87 w 2096"/>
                <a:gd name="T13" fmla="*/ 2008 h 2095"/>
                <a:gd name="T14" fmla="*/ 87 w 2096"/>
                <a:gd name="T15" fmla="*/ 86 h 2095"/>
                <a:gd name="T16" fmla="*/ 2009 w 2096"/>
                <a:gd name="T17" fmla="*/ 86 h 2095"/>
                <a:gd name="T18" fmla="*/ 2009 w 2096"/>
                <a:gd name="T19" fmla="*/ 2008 h 2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6" h="2095">
                  <a:moveTo>
                    <a:pt x="0" y="0"/>
                  </a:moveTo>
                  <a:lnTo>
                    <a:pt x="0" y="2095"/>
                  </a:lnTo>
                  <a:lnTo>
                    <a:pt x="2096" y="2095"/>
                  </a:lnTo>
                  <a:lnTo>
                    <a:pt x="2096" y="0"/>
                  </a:lnTo>
                  <a:lnTo>
                    <a:pt x="0" y="0"/>
                  </a:lnTo>
                  <a:close/>
                  <a:moveTo>
                    <a:pt x="2009" y="2008"/>
                  </a:moveTo>
                  <a:lnTo>
                    <a:pt x="87" y="2008"/>
                  </a:lnTo>
                  <a:lnTo>
                    <a:pt x="87" y="86"/>
                  </a:lnTo>
                  <a:lnTo>
                    <a:pt x="2009" y="86"/>
                  </a:lnTo>
                  <a:lnTo>
                    <a:pt x="2009" y="200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Rectangle 173">
              <a:extLst>
                <a:ext uri="{FF2B5EF4-FFF2-40B4-BE49-F238E27FC236}">
                  <a16:creationId xmlns:a16="http://schemas.microsoft.com/office/drawing/2014/main" id="{75C4E364-D2DA-49E3-9132-849749023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705100" y="1443038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74">
              <a:extLst>
                <a:ext uri="{FF2B5EF4-FFF2-40B4-BE49-F238E27FC236}">
                  <a16:creationId xmlns:a16="http://schemas.microsoft.com/office/drawing/2014/main" id="{A5C89C5D-09E5-4786-AAF0-6CCE84F51F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005013" y="1441450"/>
              <a:ext cx="608013" cy="609600"/>
            </a:xfrm>
            <a:custGeom>
              <a:avLst/>
              <a:gdLst>
                <a:gd name="T0" fmla="*/ 0 w 383"/>
                <a:gd name="T1" fmla="*/ 0 h 384"/>
                <a:gd name="T2" fmla="*/ 0 w 383"/>
                <a:gd name="T3" fmla="*/ 384 h 384"/>
                <a:gd name="T4" fmla="*/ 383 w 383"/>
                <a:gd name="T5" fmla="*/ 384 h 384"/>
                <a:gd name="T6" fmla="*/ 0 w 383"/>
                <a:gd name="T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4">
                  <a:moveTo>
                    <a:pt x="0" y="0"/>
                  </a:moveTo>
                  <a:lnTo>
                    <a:pt x="0" y="384"/>
                  </a:lnTo>
                  <a:lnTo>
                    <a:pt x="383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Rectangle 175">
              <a:extLst>
                <a:ext uri="{FF2B5EF4-FFF2-40B4-BE49-F238E27FC236}">
                  <a16:creationId xmlns:a16="http://schemas.microsoft.com/office/drawing/2014/main" id="{258E6071-0891-4806-8D1C-0BA550AD13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705100" y="742950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76">
              <a:extLst>
                <a:ext uri="{FF2B5EF4-FFF2-40B4-BE49-F238E27FC236}">
                  <a16:creationId xmlns:a16="http://schemas.microsoft.com/office/drawing/2014/main" id="{99D4C5D6-3B46-4308-B916-5F53771318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005013" y="742950"/>
              <a:ext cx="608013" cy="608013"/>
            </a:xfrm>
            <a:custGeom>
              <a:avLst/>
              <a:gdLst>
                <a:gd name="T0" fmla="*/ 0 w 383"/>
                <a:gd name="T1" fmla="*/ 0 h 383"/>
                <a:gd name="T2" fmla="*/ 0 w 383"/>
                <a:gd name="T3" fmla="*/ 383 h 383"/>
                <a:gd name="T4" fmla="*/ 383 w 383"/>
                <a:gd name="T5" fmla="*/ 0 h 383"/>
                <a:gd name="T6" fmla="*/ 0 w 383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3">
                  <a:moveTo>
                    <a:pt x="0" y="0"/>
                  </a:moveTo>
                  <a:lnTo>
                    <a:pt x="0" y="383"/>
                  </a:lnTo>
                  <a:lnTo>
                    <a:pt x="38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77">
              <a:extLst>
                <a:ext uri="{FF2B5EF4-FFF2-40B4-BE49-F238E27FC236}">
                  <a16:creationId xmlns:a16="http://schemas.microsoft.com/office/drawing/2014/main" id="{FD4BDA51-5398-4184-9FAF-B3C9F30944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46450" y="2409825"/>
              <a:ext cx="358775" cy="441325"/>
            </a:xfrm>
            <a:custGeom>
              <a:avLst/>
              <a:gdLst>
                <a:gd name="T0" fmla="*/ 224 w 226"/>
                <a:gd name="T1" fmla="*/ 0 h 278"/>
                <a:gd name="T2" fmla="*/ 154 w 226"/>
                <a:gd name="T3" fmla="*/ 0 h 278"/>
                <a:gd name="T4" fmla="*/ 62 w 226"/>
                <a:gd name="T5" fmla="*/ 128 h 278"/>
                <a:gd name="T6" fmla="*/ 62 w 226"/>
                <a:gd name="T7" fmla="*/ 0 h 278"/>
                <a:gd name="T8" fmla="*/ 0 w 226"/>
                <a:gd name="T9" fmla="*/ 0 h 278"/>
                <a:gd name="T10" fmla="*/ 0 w 226"/>
                <a:gd name="T11" fmla="*/ 278 h 278"/>
                <a:gd name="T12" fmla="*/ 62 w 226"/>
                <a:gd name="T13" fmla="*/ 278 h 278"/>
                <a:gd name="T14" fmla="*/ 62 w 226"/>
                <a:gd name="T15" fmla="*/ 153 h 278"/>
                <a:gd name="T16" fmla="*/ 154 w 226"/>
                <a:gd name="T17" fmla="*/ 278 h 278"/>
                <a:gd name="T18" fmla="*/ 226 w 226"/>
                <a:gd name="T19" fmla="*/ 278 h 278"/>
                <a:gd name="T20" fmla="*/ 119 w 226"/>
                <a:gd name="T21" fmla="*/ 136 h 278"/>
                <a:gd name="T22" fmla="*/ 224 w 226"/>
                <a:gd name="T23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278">
                  <a:moveTo>
                    <a:pt x="224" y="0"/>
                  </a:moveTo>
                  <a:lnTo>
                    <a:pt x="154" y="0"/>
                  </a:lnTo>
                  <a:lnTo>
                    <a:pt x="62" y="12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278"/>
                  </a:lnTo>
                  <a:lnTo>
                    <a:pt x="62" y="278"/>
                  </a:lnTo>
                  <a:lnTo>
                    <a:pt x="62" y="153"/>
                  </a:lnTo>
                  <a:lnTo>
                    <a:pt x="154" y="278"/>
                  </a:lnTo>
                  <a:lnTo>
                    <a:pt x="226" y="278"/>
                  </a:lnTo>
                  <a:lnTo>
                    <a:pt x="119" y="136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78">
              <a:extLst>
                <a:ext uri="{FF2B5EF4-FFF2-40B4-BE49-F238E27FC236}">
                  <a16:creationId xmlns:a16="http://schemas.microsoft.com/office/drawing/2014/main" id="{CAFF3C28-395E-407D-9ADD-118F2F6DA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5725" y="2557463"/>
              <a:ext cx="292100" cy="300038"/>
            </a:xfrm>
            <a:custGeom>
              <a:avLst/>
              <a:gdLst>
                <a:gd name="T0" fmla="*/ 1303 w 1839"/>
                <a:gd name="T1" fmla="*/ 1215 h 1890"/>
                <a:gd name="T2" fmla="*/ 906 w 1839"/>
                <a:gd name="T3" fmla="*/ 1425 h 1890"/>
                <a:gd name="T4" fmla="*/ 544 w 1839"/>
                <a:gd name="T5" fmla="*/ 1036 h 1890"/>
                <a:gd name="T6" fmla="*/ 544 w 1839"/>
                <a:gd name="T7" fmla="*/ 0 h 1890"/>
                <a:gd name="T8" fmla="*/ 0 w 1839"/>
                <a:gd name="T9" fmla="*/ 0 h 1890"/>
                <a:gd name="T10" fmla="*/ 0 w 1839"/>
                <a:gd name="T11" fmla="*/ 1143 h 1890"/>
                <a:gd name="T12" fmla="*/ 711 w 1839"/>
                <a:gd name="T13" fmla="*/ 1890 h 1890"/>
                <a:gd name="T14" fmla="*/ 1303 w 1839"/>
                <a:gd name="T15" fmla="*/ 1627 h 1890"/>
                <a:gd name="T16" fmla="*/ 1303 w 1839"/>
                <a:gd name="T17" fmla="*/ 1850 h 1890"/>
                <a:gd name="T18" fmla="*/ 1839 w 1839"/>
                <a:gd name="T19" fmla="*/ 1850 h 1890"/>
                <a:gd name="T20" fmla="*/ 1839 w 1839"/>
                <a:gd name="T21" fmla="*/ 0 h 1890"/>
                <a:gd name="T22" fmla="*/ 1303 w 1839"/>
                <a:gd name="T23" fmla="*/ 0 h 1890"/>
                <a:gd name="T24" fmla="*/ 1303 w 1839"/>
                <a:gd name="T25" fmla="*/ 1215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303" y="1215"/>
                  </a:moveTo>
                  <a:cubicBezTo>
                    <a:pt x="1231" y="1306"/>
                    <a:pt x="1104" y="1425"/>
                    <a:pt x="906" y="1425"/>
                  </a:cubicBezTo>
                  <a:cubicBezTo>
                    <a:pt x="679" y="1425"/>
                    <a:pt x="544" y="1278"/>
                    <a:pt x="544" y="1036"/>
                  </a:cubicBezTo>
                  <a:cubicBezTo>
                    <a:pt x="544" y="0"/>
                    <a:pt x="544" y="0"/>
                    <a:pt x="5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3"/>
                    <a:pt x="0" y="1143"/>
                    <a:pt x="0" y="1143"/>
                  </a:cubicBezTo>
                  <a:cubicBezTo>
                    <a:pt x="0" y="1580"/>
                    <a:pt x="251" y="1890"/>
                    <a:pt x="711" y="1890"/>
                  </a:cubicBezTo>
                  <a:cubicBezTo>
                    <a:pt x="1017" y="1890"/>
                    <a:pt x="1207" y="1731"/>
                    <a:pt x="1303" y="1627"/>
                  </a:cubicBezTo>
                  <a:cubicBezTo>
                    <a:pt x="1303" y="1850"/>
                    <a:pt x="1303" y="1850"/>
                    <a:pt x="1303" y="1850"/>
                  </a:cubicBezTo>
                  <a:cubicBezTo>
                    <a:pt x="1839" y="1850"/>
                    <a:pt x="1839" y="1850"/>
                    <a:pt x="1839" y="1850"/>
                  </a:cubicBezTo>
                  <a:cubicBezTo>
                    <a:pt x="1839" y="0"/>
                    <a:pt x="1839" y="0"/>
                    <a:pt x="1839" y="0"/>
                  </a:cubicBezTo>
                  <a:cubicBezTo>
                    <a:pt x="1303" y="0"/>
                    <a:pt x="1303" y="0"/>
                    <a:pt x="1303" y="0"/>
                  </a:cubicBezTo>
                  <a:lnTo>
                    <a:pt x="1303" y="121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79">
              <a:extLst>
                <a:ext uri="{FF2B5EF4-FFF2-40B4-BE49-F238E27FC236}">
                  <a16:creationId xmlns:a16="http://schemas.microsoft.com/office/drawing/2014/main" id="{844D23E5-FE0C-4037-9A7E-02A9338E87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1865313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4 w 1977"/>
                <a:gd name="T3" fmla="*/ 0 h 1930"/>
                <a:gd name="T4" fmla="*/ 0 w 1977"/>
                <a:gd name="T5" fmla="*/ 973 h 1930"/>
                <a:gd name="T6" fmla="*/ 874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40" y="0"/>
                    <a:pt x="874" y="0"/>
                  </a:cubicBezTo>
                  <a:cubicBezTo>
                    <a:pt x="358" y="0"/>
                    <a:pt x="0" y="429"/>
                    <a:pt x="0" y="973"/>
                  </a:cubicBezTo>
                  <a:cubicBezTo>
                    <a:pt x="0" y="1509"/>
                    <a:pt x="354" y="1930"/>
                    <a:pt x="874" y="1930"/>
                  </a:cubicBezTo>
                  <a:cubicBezTo>
                    <a:pt x="1156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80">
              <a:extLst>
                <a:ext uri="{FF2B5EF4-FFF2-40B4-BE49-F238E27FC236}">
                  <a16:creationId xmlns:a16="http://schemas.microsoft.com/office/drawing/2014/main" id="{95799A3C-1564-4AB7-AC58-03AC56EC86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000375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3 w 1977"/>
                <a:gd name="T3" fmla="*/ 0 h 1930"/>
                <a:gd name="T4" fmla="*/ 0 w 1977"/>
                <a:gd name="T5" fmla="*/ 973 h 1930"/>
                <a:gd name="T6" fmla="*/ 873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39" y="0"/>
                    <a:pt x="873" y="0"/>
                  </a:cubicBezTo>
                  <a:cubicBezTo>
                    <a:pt x="357" y="0"/>
                    <a:pt x="0" y="429"/>
                    <a:pt x="0" y="973"/>
                  </a:cubicBezTo>
                  <a:cubicBezTo>
                    <a:pt x="0" y="1509"/>
                    <a:pt x="353" y="1930"/>
                    <a:pt x="873" y="1930"/>
                  </a:cubicBezTo>
                  <a:cubicBezTo>
                    <a:pt x="1155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81">
              <a:extLst>
                <a:ext uri="{FF2B5EF4-FFF2-40B4-BE49-F238E27FC236}">
                  <a16:creationId xmlns:a16="http://schemas.microsoft.com/office/drawing/2014/main" id="{B5620DDF-5CC6-418B-8261-5DC4D12312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1149350" y="2409825"/>
              <a:ext cx="317500" cy="447675"/>
            </a:xfrm>
            <a:custGeom>
              <a:avLst/>
              <a:gdLst>
                <a:gd name="T0" fmla="*/ 1461 w 1997"/>
                <a:gd name="T1" fmla="*/ 0 h 2819"/>
                <a:gd name="T2" fmla="*/ 1461 w 1997"/>
                <a:gd name="T3" fmla="*/ 1139 h 2819"/>
                <a:gd name="T4" fmla="*/ 873 w 1997"/>
                <a:gd name="T5" fmla="*/ 889 h 2819"/>
                <a:gd name="T6" fmla="*/ 0 w 1997"/>
                <a:gd name="T7" fmla="*/ 1862 h 2819"/>
                <a:gd name="T8" fmla="*/ 873 w 1997"/>
                <a:gd name="T9" fmla="*/ 2819 h 2819"/>
                <a:gd name="T10" fmla="*/ 1461 w 1997"/>
                <a:gd name="T11" fmla="*/ 2568 h 2819"/>
                <a:gd name="T12" fmla="*/ 1461 w 1997"/>
                <a:gd name="T13" fmla="*/ 2779 h 2819"/>
                <a:gd name="T14" fmla="*/ 1997 w 1997"/>
                <a:gd name="T15" fmla="*/ 2779 h 2819"/>
                <a:gd name="T16" fmla="*/ 1997 w 1997"/>
                <a:gd name="T17" fmla="*/ 0 h 2819"/>
                <a:gd name="T18" fmla="*/ 1461 w 1997"/>
                <a:gd name="T19" fmla="*/ 0 h 2819"/>
                <a:gd name="T20" fmla="*/ 1461 w 1997"/>
                <a:gd name="T21" fmla="*/ 2163 h 2819"/>
                <a:gd name="T22" fmla="*/ 1048 w 1997"/>
                <a:gd name="T23" fmla="*/ 2362 h 2819"/>
                <a:gd name="T24" fmla="*/ 560 w 1997"/>
                <a:gd name="T25" fmla="*/ 1854 h 2819"/>
                <a:gd name="T26" fmla="*/ 1048 w 1997"/>
                <a:gd name="T27" fmla="*/ 1346 h 2819"/>
                <a:gd name="T28" fmla="*/ 1461 w 1997"/>
                <a:gd name="T29" fmla="*/ 1544 h 2819"/>
                <a:gd name="T30" fmla="*/ 1461 w 1997"/>
                <a:gd name="T31" fmla="*/ 2163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97" h="2819">
                  <a:moveTo>
                    <a:pt x="1461" y="0"/>
                  </a:moveTo>
                  <a:cubicBezTo>
                    <a:pt x="1461" y="1139"/>
                    <a:pt x="1461" y="1139"/>
                    <a:pt x="1461" y="1139"/>
                  </a:cubicBezTo>
                  <a:cubicBezTo>
                    <a:pt x="1366" y="1040"/>
                    <a:pt x="1171" y="889"/>
                    <a:pt x="873" y="889"/>
                  </a:cubicBezTo>
                  <a:cubicBezTo>
                    <a:pt x="353" y="889"/>
                    <a:pt x="0" y="1318"/>
                    <a:pt x="0" y="1862"/>
                  </a:cubicBezTo>
                  <a:cubicBezTo>
                    <a:pt x="0" y="2406"/>
                    <a:pt x="361" y="2819"/>
                    <a:pt x="873" y="2819"/>
                  </a:cubicBezTo>
                  <a:cubicBezTo>
                    <a:pt x="1171" y="2819"/>
                    <a:pt x="1366" y="2672"/>
                    <a:pt x="1461" y="2568"/>
                  </a:cubicBezTo>
                  <a:cubicBezTo>
                    <a:pt x="1461" y="2779"/>
                    <a:pt x="1461" y="2779"/>
                    <a:pt x="1461" y="2779"/>
                  </a:cubicBezTo>
                  <a:cubicBezTo>
                    <a:pt x="1997" y="2779"/>
                    <a:pt x="1997" y="2779"/>
                    <a:pt x="1997" y="2779"/>
                  </a:cubicBezTo>
                  <a:cubicBezTo>
                    <a:pt x="1997" y="0"/>
                    <a:pt x="1997" y="0"/>
                    <a:pt x="1997" y="0"/>
                  </a:cubicBezTo>
                  <a:lnTo>
                    <a:pt x="1461" y="0"/>
                  </a:lnTo>
                  <a:close/>
                  <a:moveTo>
                    <a:pt x="1461" y="2163"/>
                  </a:moveTo>
                  <a:cubicBezTo>
                    <a:pt x="1389" y="2255"/>
                    <a:pt x="1254" y="2362"/>
                    <a:pt x="1048" y="2362"/>
                  </a:cubicBezTo>
                  <a:cubicBezTo>
                    <a:pt x="762" y="2362"/>
                    <a:pt x="560" y="2155"/>
                    <a:pt x="560" y="1854"/>
                  </a:cubicBezTo>
                  <a:cubicBezTo>
                    <a:pt x="560" y="1552"/>
                    <a:pt x="762" y="1346"/>
                    <a:pt x="1048" y="1346"/>
                  </a:cubicBezTo>
                  <a:cubicBezTo>
                    <a:pt x="1254" y="1346"/>
                    <a:pt x="1389" y="1453"/>
                    <a:pt x="1461" y="1544"/>
                  </a:cubicBezTo>
                  <a:lnTo>
                    <a:pt x="1461" y="216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82">
              <a:extLst>
                <a:ext uri="{FF2B5EF4-FFF2-40B4-BE49-F238E27FC236}">
                  <a16:creationId xmlns:a16="http://schemas.microsoft.com/office/drawing/2014/main" id="{31E7DBAA-AAA6-4D6C-9528-C735B474C2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87488" y="2551113"/>
              <a:ext cx="290513" cy="300038"/>
            </a:xfrm>
            <a:custGeom>
              <a:avLst/>
              <a:gdLst>
                <a:gd name="T0" fmla="*/ 1128 w 1839"/>
                <a:gd name="T1" fmla="*/ 0 h 1890"/>
                <a:gd name="T2" fmla="*/ 540 w 1839"/>
                <a:gd name="T3" fmla="*/ 262 h 1890"/>
                <a:gd name="T4" fmla="*/ 540 w 1839"/>
                <a:gd name="T5" fmla="*/ 40 h 1890"/>
                <a:gd name="T6" fmla="*/ 0 w 1839"/>
                <a:gd name="T7" fmla="*/ 40 h 1890"/>
                <a:gd name="T8" fmla="*/ 0 w 1839"/>
                <a:gd name="T9" fmla="*/ 1890 h 1890"/>
                <a:gd name="T10" fmla="*/ 540 w 1839"/>
                <a:gd name="T11" fmla="*/ 1890 h 1890"/>
                <a:gd name="T12" fmla="*/ 540 w 1839"/>
                <a:gd name="T13" fmla="*/ 675 h 1890"/>
                <a:gd name="T14" fmla="*/ 937 w 1839"/>
                <a:gd name="T15" fmla="*/ 464 h 1890"/>
                <a:gd name="T16" fmla="*/ 1295 w 1839"/>
                <a:gd name="T17" fmla="*/ 854 h 1890"/>
                <a:gd name="T18" fmla="*/ 1295 w 1839"/>
                <a:gd name="T19" fmla="*/ 1890 h 1890"/>
                <a:gd name="T20" fmla="*/ 1839 w 1839"/>
                <a:gd name="T21" fmla="*/ 1890 h 1890"/>
                <a:gd name="T22" fmla="*/ 1839 w 1839"/>
                <a:gd name="T23" fmla="*/ 746 h 1890"/>
                <a:gd name="T24" fmla="*/ 1128 w 1839"/>
                <a:gd name="T25" fmla="*/ 0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128" y="0"/>
                  </a:moveTo>
                  <a:cubicBezTo>
                    <a:pt x="826" y="0"/>
                    <a:pt x="632" y="159"/>
                    <a:pt x="540" y="262"/>
                  </a:cubicBezTo>
                  <a:cubicBezTo>
                    <a:pt x="540" y="40"/>
                    <a:pt x="540" y="40"/>
                    <a:pt x="54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90"/>
                    <a:pt x="0" y="1890"/>
                    <a:pt x="0" y="1890"/>
                  </a:cubicBezTo>
                  <a:cubicBezTo>
                    <a:pt x="540" y="1890"/>
                    <a:pt x="540" y="1890"/>
                    <a:pt x="540" y="1890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608" y="580"/>
                    <a:pt x="735" y="464"/>
                    <a:pt x="937" y="464"/>
                  </a:cubicBezTo>
                  <a:cubicBezTo>
                    <a:pt x="1164" y="464"/>
                    <a:pt x="1295" y="611"/>
                    <a:pt x="1295" y="854"/>
                  </a:cubicBezTo>
                  <a:cubicBezTo>
                    <a:pt x="1295" y="1890"/>
                    <a:pt x="1295" y="1890"/>
                    <a:pt x="1295" y="1890"/>
                  </a:cubicBezTo>
                  <a:cubicBezTo>
                    <a:pt x="1839" y="1890"/>
                    <a:pt x="1839" y="1890"/>
                    <a:pt x="1839" y="1890"/>
                  </a:cubicBezTo>
                  <a:cubicBezTo>
                    <a:pt x="1839" y="746"/>
                    <a:pt x="1839" y="746"/>
                    <a:pt x="1839" y="746"/>
                  </a:cubicBezTo>
                  <a:cubicBezTo>
                    <a:pt x="1839" y="310"/>
                    <a:pt x="1588" y="0"/>
                    <a:pt x="112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83">
              <a:extLst>
                <a:ext uri="{FF2B5EF4-FFF2-40B4-BE49-F238E27FC236}">
                  <a16:creationId xmlns:a16="http://schemas.microsoft.com/office/drawing/2014/main" id="{4ACAB1E2-48D7-4D1D-9748-BB6B97A45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86000" y="2403475"/>
              <a:ext cx="238125" cy="447675"/>
            </a:xfrm>
            <a:custGeom>
              <a:avLst/>
              <a:gdLst>
                <a:gd name="T0" fmla="*/ 1128 w 1505"/>
                <a:gd name="T1" fmla="*/ 449 h 2819"/>
                <a:gd name="T2" fmla="*/ 1418 w 1505"/>
                <a:gd name="T3" fmla="*/ 528 h 2819"/>
                <a:gd name="T4" fmla="*/ 1505 w 1505"/>
                <a:gd name="T5" fmla="*/ 115 h 2819"/>
                <a:gd name="T6" fmla="*/ 1009 w 1505"/>
                <a:gd name="T7" fmla="*/ 0 h 2819"/>
                <a:gd name="T8" fmla="*/ 274 w 1505"/>
                <a:gd name="T9" fmla="*/ 750 h 2819"/>
                <a:gd name="T10" fmla="*/ 274 w 1505"/>
                <a:gd name="T11" fmla="*/ 969 h 2819"/>
                <a:gd name="T12" fmla="*/ 0 w 1505"/>
                <a:gd name="T13" fmla="*/ 969 h 2819"/>
                <a:gd name="T14" fmla="*/ 0 w 1505"/>
                <a:gd name="T15" fmla="*/ 1413 h 2819"/>
                <a:gd name="T16" fmla="*/ 274 w 1505"/>
                <a:gd name="T17" fmla="*/ 1413 h 2819"/>
                <a:gd name="T18" fmla="*/ 274 w 1505"/>
                <a:gd name="T19" fmla="*/ 2819 h 2819"/>
                <a:gd name="T20" fmla="*/ 826 w 1505"/>
                <a:gd name="T21" fmla="*/ 2819 h 2819"/>
                <a:gd name="T22" fmla="*/ 826 w 1505"/>
                <a:gd name="T23" fmla="*/ 1413 h 2819"/>
                <a:gd name="T24" fmla="*/ 1453 w 1505"/>
                <a:gd name="T25" fmla="*/ 1413 h 2819"/>
                <a:gd name="T26" fmla="*/ 1453 w 1505"/>
                <a:gd name="T27" fmla="*/ 969 h 2819"/>
                <a:gd name="T28" fmla="*/ 826 w 1505"/>
                <a:gd name="T29" fmla="*/ 969 h 2819"/>
                <a:gd name="T30" fmla="*/ 826 w 1505"/>
                <a:gd name="T31" fmla="*/ 798 h 2819"/>
                <a:gd name="T32" fmla="*/ 1128 w 1505"/>
                <a:gd name="T33" fmla="*/ 449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05" h="2819">
                  <a:moveTo>
                    <a:pt x="1128" y="449"/>
                  </a:moveTo>
                  <a:cubicBezTo>
                    <a:pt x="1310" y="449"/>
                    <a:pt x="1418" y="528"/>
                    <a:pt x="1418" y="528"/>
                  </a:cubicBezTo>
                  <a:cubicBezTo>
                    <a:pt x="1505" y="115"/>
                    <a:pt x="1505" y="115"/>
                    <a:pt x="1505" y="115"/>
                  </a:cubicBezTo>
                  <a:cubicBezTo>
                    <a:pt x="1505" y="115"/>
                    <a:pt x="1358" y="0"/>
                    <a:pt x="1009" y="0"/>
                  </a:cubicBezTo>
                  <a:cubicBezTo>
                    <a:pt x="556" y="0"/>
                    <a:pt x="274" y="262"/>
                    <a:pt x="274" y="750"/>
                  </a:cubicBezTo>
                  <a:cubicBezTo>
                    <a:pt x="274" y="969"/>
                    <a:pt x="274" y="969"/>
                    <a:pt x="274" y="969"/>
                  </a:cubicBezTo>
                  <a:cubicBezTo>
                    <a:pt x="0" y="969"/>
                    <a:pt x="0" y="969"/>
                    <a:pt x="0" y="969"/>
                  </a:cubicBezTo>
                  <a:cubicBezTo>
                    <a:pt x="0" y="1413"/>
                    <a:pt x="0" y="1413"/>
                    <a:pt x="0" y="1413"/>
                  </a:cubicBezTo>
                  <a:cubicBezTo>
                    <a:pt x="274" y="1413"/>
                    <a:pt x="274" y="1413"/>
                    <a:pt x="274" y="1413"/>
                  </a:cubicBezTo>
                  <a:cubicBezTo>
                    <a:pt x="274" y="2819"/>
                    <a:pt x="274" y="2819"/>
                    <a:pt x="274" y="2819"/>
                  </a:cubicBezTo>
                  <a:cubicBezTo>
                    <a:pt x="826" y="2819"/>
                    <a:pt x="826" y="2819"/>
                    <a:pt x="826" y="2819"/>
                  </a:cubicBezTo>
                  <a:cubicBezTo>
                    <a:pt x="826" y="1413"/>
                    <a:pt x="826" y="1413"/>
                    <a:pt x="826" y="1413"/>
                  </a:cubicBezTo>
                  <a:cubicBezTo>
                    <a:pt x="1453" y="1413"/>
                    <a:pt x="1453" y="1413"/>
                    <a:pt x="1453" y="1413"/>
                  </a:cubicBezTo>
                  <a:cubicBezTo>
                    <a:pt x="1453" y="969"/>
                    <a:pt x="1453" y="969"/>
                    <a:pt x="1453" y="969"/>
                  </a:cubicBezTo>
                  <a:cubicBezTo>
                    <a:pt x="826" y="969"/>
                    <a:pt x="826" y="969"/>
                    <a:pt x="826" y="969"/>
                  </a:cubicBezTo>
                  <a:cubicBezTo>
                    <a:pt x="826" y="798"/>
                    <a:pt x="826" y="798"/>
                    <a:pt x="826" y="798"/>
                  </a:cubicBezTo>
                  <a:cubicBezTo>
                    <a:pt x="826" y="564"/>
                    <a:pt x="933" y="449"/>
                    <a:pt x="1128" y="44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Rectangle 184">
              <a:extLst>
                <a:ext uri="{FF2B5EF4-FFF2-40B4-BE49-F238E27FC236}">
                  <a16:creationId xmlns:a16="http://schemas.microsoft.com/office/drawing/2014/main" id="{1356E252-F7DC-4A0A-AA51-9C93A485C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006600" y="2409825"/>
              <a:ext cx="87313" cy="4413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7" name="Datumsplatzhalter 5">
            <a:extLst>
              <a:ext uri="{FF2B5EF4-FFF2-40B4-BE49-F238E27FC236}">
                <a16:creationId xmlns:a16="http://schemas.microsoft.com/office/drawing/2014/main" id="{88171938-781D-4F43-9F8C-659141C595BC}"/>
              </a:ext>
            </a:extLst>
          </p:cNvPr>
          <p:cNvSpPr>
            <a:spLocks noGrp="1"/>
          </p:cNvSpPr>
          <p:nvPr>
            <p:ph type="dt" sz="half" idx="1"/>
          </p:nvPr>
        </p:nvSpPr>
        <p:spPr bwMode="gray">
          <a:xfrm>
            <a:off x="5320812" y="9428608"/>
            <a:ext cx="576064" cy="216024"/>
          </a:xfrm>
          <a:prstGeom prst="rect">
            <a:avLst/>
          </a:prstGeom>
        </p:spPr>
        <p:txBody>
          <a:bodyPr vert="horz" wrap="none" lIns="0" tIns="46800" rIns="0" bIns="0" rtlCol="0" anchor="t">
            <a:noAutofit/>
          </a:bodyPr>
          <a:lstStyle>
            <a:lvl1pPr marL="0" algn="l">
              <a:defRPr sz="900">
                <a:solidFill>
                  <a:srgbClr val="5D6C73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2B8A754B-887C-4C60-B661-1896749637B1}" type="datetime1">
              <a:rPr lang="de-DE" smtClean="0">
                <a:solidFill>
                  <a:srgbClr val="5D6C73"/>
                </a:solidFill>
              </a:rPr>
              <a:t>18.08.2023</a:t>
            </a:fld>
            <a:endParaRPr lang="de-DE" dirty="0">
              <a:solidFill>
                <a:srgbClr val="5D6C73"/>
              </a:solidFill>
            </a:endParaRPr>
          </a:p>
        </p:txBody>
      </p:sp>
      <p:sp>
        <p:nvSpPr>
          <p:cNvPr id="28" name="Fußzeilenplatzhalter 6">
            <a:extLst>
              <a:ext uri="{FF2B5EF4-FFF2-40B4-BE49-F238E27FC236}">
                <a16:creationId xmlns:a16="http://schemas.microsoft.com/office/drawing/2014/main" id="{CDF2F80A-5D01-49AB-A9FB-94808B6DD3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469370" y="9428608"/>
            <a:ext cx="4779434" cy="216024"/>
          </a:xfrm>
          <a:prstGeom prst="rect">
            <a:avLst/>
          </a:prstGeom>
        </p:spPr>
        <p:txBody>
          <a:bodyPr vert="horz" lIns="0" tIns="46800" rIns="0" bIns="0" rtlCol="0" anchor="t"/>
          <a:lstStyle>
            <a:lvl1pPr marL="0" algn="r">
              <a:defRPr sz="900">
                <a:solidFill>
                  <a:srgbClr val="5D6C73"/>
                </a:solidFill>
              </a:defRPr>
            </a:lvl1pPr>
            <a:lvl2pPr marL="0" algn="r">
              <a:defRPr sz="900"/>
            </a:lvl2pPr>
            <a:lvl3pPr marL="0" algn="r">
              <a:defRPr sz="900"/>
            </a:lvl3pPr>
            <a:lvl4pPr marL="0" algn="r">
              <a:defRPr sz="900"/>
            </a:lvl4pPr>
            <a:lvl5pPr marL="0" algn="r">
              <a:defRPr sz="900"/>
            </a:lvl5pPr>
            <a:lvl6pPr marL="0" algn="r">
              <a:defRPr sz="900"/>
            </a:lvl6pPr>
            <a:lvl7pPr marL="0" algn="r">
              <a:defRPr sz="900"/>
            </a:lvl7pPr>
            <a:lvl8pPr marL="0" algn="r">
              <a:defRPr sz="900"/>
            </a:lvl8pPr>
            <a:lvl9pPr marL="0" algn="r">
              <a:defRPr sz="900"/>
            </a:lvl9pPr>
          </a:lstStyle>
          <a:p>
            <a:r>
              <a:rPr lang="de-DE" dirty="0"/>
              <a:t>Fußzeile</a:t>
            </a:r>
          </a:p>
        </p:txBody>
      </p:sp>
      <p:sp>
        <p:nvSpPr>
          <p:cNvPr id="29" name="Foliennummernplatzhalter 7">
            <a:extLst>
              <a:ext uri="{FF2B5EF4-FFF2-40B4-BE49-F238E27FC236}">
                <a16:creationId xmlns:a16="http://schemas.microsoft.com/office/drawing/2014/main" id="{4A36F8DC-E6EF-4C8F-B4C2-48B48503FE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5968305" y="9428632"/>
            <a:ext cx="360000" cy="216000"/>
          </a:xfrm>
          <a:prstGeom prst="rect">
            <a:avLst/>
          </a:prstGeom>
        </p:spPr>
        <p:txBody>
          <a:bodyPr vert="horz" lIns="0" tIns="46800" rIns="0" bIns="0" rtlCol="0" anchor="t"/>
          <a:lstStyle>
            <a:lvl1pPr marL="0" algn="r">
              <a:defRPr sz="900">
                <a:solidFill>
                  <a:srgbClr val="5D6C73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>
              <a:solidFill>
                <a:srgbClr val="5D6C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9415" y="1163058"/>
            <a:ext cx="5845132" cy="328972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2480" y="4604072"/>
            <a:ext cx="5852067" cy="43469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14991EC-3BEB-4899-9C72-5F9C1E0496A9}"/>
              </a:ext>
            </a:extLst>
          </p:cNvPr>
          <p:cNvGrpSpPr/>
          <p:nvPr/>
        </p:nvGrpSpPr>
        <p:grpSpPr>
          <a:xfrm>
            <a:off x="5723798" y="211584"/>
            <a:ext cx="639644" cy="639644"/>
            <a:chOff x="-3889375" y="0"/>
            <a:chExt cx="3600450" cy="3600450"/>
          </a:xfrm>
        </p:grpSpPr>
        <p:sp>
          <p:nvSpPr>
            <p:cNvPr id="9" name="AutoShape 169">
              <a:extLst>
                <a:ext uri="{FF2B5EF4-FFF2-40B4-BE49-F238E27FC236}">
                  <a16:creationId xmlns:a16="http://schemas.microsoft.com/office/drawing/2014/main" id="{B52C77E0-EB32-474A-BBD1-5B3F3BE8C9F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3889375" y="0"/>
              <a:ext cx="3600450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Freeform 171">
              <a:extLst>
                <a:ext uri="{FF2B5EF4-FFF2-40B4-BE49-F238E27FC236}">
                  <a16:creationId xmlns:a16="http://schemas.microsoft.com/office/drawing/2014/main" id="{1EA1697F-CED8-4730-A254-69C834F92C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889375" y="0"/>
              <a:ext cx="3600450" cy="3600450"/>
            </a:xfrm>
            <a:custGeom>
              <a:avLst/>
              <a:gdLst>
                <a:gd name="T0" fmla="*/ 2268 w 2268"/>
                <a:gd name="T1" fmla="*/ 0 h 2268"/>
                <a:gd name="T2" fmla="*/ 0 w 2268"/>
                <a:gd name="T3" fmla="*/ 0 h 2268"/>
                <a:gd name="T4" fmla="*/ 0 w 2268"/>
                <a:gd name="T5" fmla="*/ 2268 h 2268"/>
                <a:gd name="T6" fmla="*/ 2268 w 2268"/>
                <a:gd name="T7" fmla="*/ 2268 h 2268"/>
                <a:gd name="T8" fmla="*/ 2268 w 2268"/>
                <a:gd name="T9" fmla="*/ 0 h 2268"/>
                <a:gd name="T10" fmla="*/ 2268 w 2268"/>
                <a:gd name="T11" fmla="*/ 0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8" h="2268">
                  <a:moveTo>
                    <a:pt x="2268" y="0"/>
                  </a:moveTo>
                  <a:lnTo>
                    <a:pt x="0" y="0"/>
                  </a:lnTo>
                  <a:lnTo>
                    <a:pt x="0" y="2268"/>
                  </a:lnTo>
                  <a:lnTo>
                    <a:pt x="2268" y="2268"/>
                  </a:lnTo>
                  <a:lnTo>
                    <a:pt x="2268" y="0"/>
                  </a:lnTo>
                  <a:lnTo>
                    <a:pt x="226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72">
              <a:extLst>
                <a:ext uri="{FF2B5EF4-FFF2-40B4-BE49-F238E27FC236}">
                  <a16:creationId xmlns:a16="http://schemas.microsoft.com/office/drawing/2014/main" id="{73FB6F53-FAFE-480E-98C3-3A871DCEF3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752850" y="138113"/>
              <a:ext cx="3327400" cy="3325813"/>
            </a:xfrm>
            <a:custGeom>
              <a:avLst/>
              <a:gdLst>
                <a:gd name="T0" fmla="*/ 0 w 2096"/>
                <a:gd name="T1" fmla="*/ 0 h 2095"/>
                <a:gd name="T2" fmla="*/ 0 w 2096"/>
                <a:gd name="T3" fmla="*/ 2095 h 2095"/>
                <a:gd name="T4" fmla="*/ 2096 w 2096"/>
                <a:gd name="T5" fmla="*/ 2095 h 2095"/>
                <a:gd name="T6" fmla="*/ 2096 w 2096"/>
                <a:gd name="T7" fmla="*/ 0 h 2095"/>
                <a:gd name="T8" fmla="*/ 0 w 2096"/>
                <a:gd name="T9" fmla="*/ 0 h 2095"/>
                <a:gd name="T10" fmla="*/ 2009 w 2096"/>
                <a:gd name="T11" fmla="*/ 2008 h 2095"/>
                <a:gd name="T12" fmla="*/ 87 w 2096"/>
                <a:gd name="T13" fmla="*/ 2008 h 2095"/>
                <a:gd name="T14" fmla="*/ 87 w 2096"/>
                <a:gd name="T15" fmla="*/ 86 h 2095"/>
                <a:gd name="T16" fmla="*/ 2009 w 2096"/>
                <a:gd name="T17" fmla="*/ 86 h 2095"/>
                <a:gd name="T18" fmla="*/ 2009 w 2096"/>
                <a:gd name="T19" fmla="*/ 2008 h 2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6" h="2095">
                  <a:moveTo>
                    <a:pt x="0" y="0"/>
                  </a:moveTo>
                  <a:lnTo>
                    <a:pt x="0" y="2095"/>
                  </a:lnTo>
                  <a:lnTo>
                    <a:pt x="2096" y="2095"/>
                  </a:lnTo>
                  <a:lnTo>
                    <a:pt x="2096" y="0"/>
                  </a:lnTo>
                  <a:lnTo>
                    <a:pt x="0" y="0"/>
                  </a:lnTo>
                  <a:close/>
                  <a:moveTo>
                    <a:pt x="2009" y="2008"/>
                  </a:moveTo>
                  <a:lnTo>
                    <a:pt x="87" y="2008"/>
                  </a:lnTo>
                  <a:lnTo>
                    <a:pt x="87" y="86"/>
                  </a:lnTo>
                  <a:lnTo>
                    <a:pt x="2009" y="86"/>
                  </a:lnTo>
                  <a:lnTo>
                    <a:pt x="2009" y="200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Rectangle 173">
              <a:extLst>
                <a:ext uri="{FF2B5EF4-FFF2-40B4-BE49-F238E27FC236}">
                  <a16:creationId xmlns:a16="http://schemas.microsoft.com/office/drawing/2014/main" id="{420CA4CA-297C-47B1-8C19-4F6DA896E9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705100" y="1443038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74">
              <a:extLst>
                <a:ext uri="{FF2B5EF4-FFF2-40B4-BE49-F238E27FC236}">
                  <a16:creationId xmlns:a16="http://schemas.microsoft.com/office/drawing/2014/main" id="{90C54BC1-8C71-498A-9AC6-2EEEF1B26E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005013" y="1441450"/>
              <a:ext cx="608013" cy="609600"/>
            </a:xfrm>
            <a:custGeom>
              <a:avLst/>
              <a:gdLst>
                <a:gd name="T0" fmla="*/ 0 w 383"/>
                <a:gd name="T1" fmla="*/ 0 h 384"/>
                <a:gd name="T2" fmla="*/ 0 w 383"/>
                <a:gd name="T3" fmla="*/ 384 h 384"/>
                <a:gd name="T4" fmla="*/ 383 w 383"/>
                <a:gd name="T5" fmla="*/ 384 h 384"/>
                <a:gd name="T6" fmla="*/ 0 w 383"/>
                <a:gd name="T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4">
                  <a:moveTo>
                    <a:pt x="0" y="0"/>
                  </a:moveTo>
                  <a:lnTo>
                    <a:pt x="0" y="384"/>
                  </a:lnTo>
                  <a:lnTo>
                    <a:pt x="383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Rectangle 175">
              <a:extLst>
                <a:ext uri="{FF2B5EF4-FFF2-40B4-BE49-F238E27FC236}">
                  <a16:creationId xmlns:a16="http://schemas.microsoft.com/office/drawing/2014/main" id="{4106C719-7046-4004-B7FC-9DE9D7EE1C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705100" y="742950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76">
              <a:extLst>
                <a:ext uri="{FF2B5EF4-FFF2-40B4-BE49-F238E27FC236}">
                  <a16:creationId xmlns:a16="http://schemas.microsoft.com/office/drawing/2014/main" id="{6BD22E3E-ADDC-4E93-8646-E87B3A28B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005013" y="742950"/>
              <a:ext cx="608013" cy="608013"/>
            </a:xfrm>
            <a:custGeom>
              <a:avLst/>
              <a:gdLst>
                <a:gd name="T0" fmla="*/ 0 w 383"/>
                <a:gd name="T1" fmla="*/ 0 h 383"/>
                <a:gd name="T2" fmla="*/ 0 w 383"/>
                <a:gd name="T3" fmla="*/ 383 h 383"/>
                <a:gd name="T4" fmla="*/ 383 w 383"/>
                <a:gd name="T5" fmla="*/ 0 h 383"/>
                <a:gd name="T6" fmla="*/ 0 w 383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3">
                  <a:moveTo>
                    <a:pt x="0" y="0"/>
                  </a:moveTo>
                  <a:lnTo>
                    <a:pt x="0" y="383"/>
                  </a:lnTo>
                  <a:lnTo>
                    <a:pt x="38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77">
              <a:extLst>
                <a:ext uri="{FF2B5EF4-FFF2-40B4-BE49-F238E27FC236}">
                  <a16:creationId xmlns:a16="http://schemas.microsoft.com/office/drawing/2014/main" id="{7E6B4687-8D2D-4BD1-AF2E-291C2FC3E8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46450" y="2409825"/>
              <a:ext cx="358775" cy="441325"/>
            </a:xfrm>
            <a:custGeom>
              <a:avLst/>
              <a:gdLst>
                <a:gd name="T0" fmla="*/ 224 w 226"/>
                <a:gd name="T1" fmla="*/ 0 h 278"/>
                <a:gd name="T2" fmla="*/ 154 w 226"/>
                <a:gd name="T3" fmla="*/ 0 h 278"/>
                <a:gd name="T4" fmla="*/ 62 w 226"/>
                <a:gd name="T5" fmla="*/ 128 h 278"/>
                <a:gd name="T6" fmla="*/ 62 w 226"/>
                <a:gd name="T7" fmla="*/ 0 h 278"/>
                <a:gd name="T8" fmla="*/ 0 w 226"/>
                <a:gd name="T9" fmla="*/ 0 h 278"/>
                <a:gd name="T10" fmla="*/ 0 w 226"/>
                <a:gd name="T11" fmla="*/ 278 h 278"/>
                <a:gd name="T12" fmla="*/ 62 w 226"/>
                <a:gd name="T13" fmla="*/ 278 h 278"/>
                <a:gd name="T14" fmla="*/ 62 w 226"/>
                <a:gd name="T15" fmla="*/ 153 h 278"/>
                <a:gd name="T16" fmla="*/ 154 w 226"/>
                <a:gd name="T17" fmla="*/ 278 h 278"/>
                <a:gd name="T18" fmla="*/ 226 w 226"/>
                <a:gd name="T19" fmla="*/ 278 h 278"/>
                <a:gd name="T20" fmla="*/ 119 w 226"/>
                <a:gd name="T21" fmla="*/ 136 h 278"/>
                <a:gd name="T22" fmla="*/ 224 w 226"/>
                <a:gd name="T23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278">
                  <a:moveTo>
                    <a:pt x="224" y="0"/>
                  </a:moveTo>
                  <a:lnTo>
                    <a:pt x="154" y="0"/>
                  </a:lnTo>
                  <a:lnTo>
                    <a:pt x="62" y="12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278"/>
                  </a:lnTo>
                  <a:lnTo>
                    <a:pt x="62" y="278"/>
                  </a:lnTo>
                  <a:lnTo>
                    <a:pt x="62" y="153"/>
                  </a:lnTo>
                  <a:lnTo>
                    <a:pt x="154" y="278"/>
                  </a:lnTo>
                  <a:lnTo>
                    <a:pt x="226" y="278"/>
                  </a:lnTo>
                  <a:lnTo>
                    <a:pt x="119" y="136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78">
              <a:extLst>
                <a:ext uri="{FF2B5EF4-FFF2-40B4-BE49-F238E27FC236}">
                  <a16:creationId xmlns:a16="http://schemas.microsoft.com/office/drawing/2014/main" id="{89D57B3B-920C-4FD9-98A8-77E2BF85A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5725" y="2557463"/>
              <a:ext cx="292100" cy="300038"/>
            </a:xfrm>
            <a:custGeom>
              <a:avLst/>
              <a:gdLst>
                <a:gd name="T0" fmla="*/ 1303 w 1839"/>
                <a:gd name="T1" fmla="*/ 1215 h 1890"/>
                <a:gd name="T2" fmla="*/ 906 w 1839"/>
                <a:gd name="T3" fmla="*/ 1425 h 1890"/>
                <a:gd name="T4" fmla="*/ 544 w 1839"/>
                <a:gd name="T5" fmla="*/ 1036 h 1890"/>
                <a:gd name="T6" fmla="*/ 544 w 1839"/>
                <a:gd name="T7" fmla="*/ 0 h 1890"/>
                <a:gd name="T8" fmla="*/ 0 w 1839"/>
                <a:gd name="T9" fmla="*/ 0 h 1890"/>
                <a:gd name="T10" fmla="*/ 0 w 1839"/>
                <a:gd name="T11" fmla="*/ 1143 h 1890"/>
                <a:gd name="T12" fmla="*/ 711 w 1839"/>
                <a:gd name="T13" fmla="*/ 1890 h 1890"/>
                <a:gd name="T14" fmla="*/ 1303 w 1839"/>
                <a:gd name="T15" fmla="*/ 1627 h 1890"/>
                <a:gd name="T16" fmla="*/ 1303 w 1839"/>
                <a:gd name="T17" fmla="*/ 1850 h 1890"/>
                <a:gd name="T18" fmla="*/ 1839 w 1839"/>
                <a:gd name="T19" fmla="*/ 1850 h 1890"/>
                <a:gd name="T20" fmla="*/ 1839 w 1839"/>
                <a:gd name="T21" fmla="*/ 0 h 1890"/>
                <a:gd name="T22" fmla="*/ 1303 w 1839"/>
                <a:gd name="T23" fmla="*/ 0 h 1890"/>
                <a:gd name="T24" fmla="*/ 1303 w 1839"/>
                <a:gd name="T25" fmla="*/ 1215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303" y="1215"/>
                  </a:moveTo>
                  <a:cubicBezTo>
                    <a:pt x="1231" y="1306"/>
                    <a:pt x="1104" y="1425"/>
                    <a:pt x="906" y="1425"/>
                  </a:cubicBezTo>
                  <a:cubicBezTo>
                    <a:pt x="679" y="1425"/>
                    <a:pt x="544" y="1278"/>
                    <a:pt x="544" y="1036"/>
                  </a:cubicBezTo>
                  <a:cubicBezTo>
                    <a:pt x="544" y="0"/>
                    <a:pt x="544" y="0"/>
                    <a:pt x="5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3"/>
                    <a:pt x="0" y="1143"/>
                    <a:pt x="0" y="1143"/>
                  </a:cubicBezTo>
                  <a:cubicBezTo>
                    <a:pt x="0" y="1580"/>
                    <a:pt x="251" y="1890"/>
                    <a:pt x="711" y="1890"/>
                  </a:cubicBezTo>
                  <a:cubicBezTo>
                    <a:pt x="1017" y="1890"/>
                    <a:pt x="1207" y="1731"/>
                    <a:pt x="1303" y="1627"/>
                  </a:cubicBezTo>
                  <a:cubicBezTo>
                    <a:pt x="1303" y="1850"/>
                    <a:pt x="1303" y="1850"/>
                    <a:pt x="1303" y="1850"/>
                  </a:cubicBezTo>
                  <a:cubicBezTo>
                    <a:pt x="1839" y="1850"/>
                    <a:pt x="1839" y="1850"/>
                    <a:pt x="1839" y="1850"/>
                  </a:cubicBezTo>
                  <a:cubicBezTo>
                    <a:pt x="1839" y="0"/>
                    <a:pt x="1839" y="0"/>
                    <a:pt x="1839" y="0"/>
                  </a:cubicBezTo>
                  <a:cubicBezTo>
                    <a:pt x="1303" y="0"/>
                    <a:pt x="1303" y="0"/>
                    <a:pt x="1303" y="0"/>
                  </a:cubicBezTo>
                  <a:lnTo>
                    <a:pt x="1303" y="121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79">
              <a:extLst>
                <a:ext uri="{FF2B5EF4-FFF2-40B4-BE49-F238E27FC236}">
                  <a16:creationId xmlns:a16="http://schemas.microsoft.com/office/drawing/2014/main" id="{F5DBC146-DCBA-4BEE-9372-89CED947FB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1865313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4 w 1977"/>
                <a:gd name="T3" fmla="*/ 0 h 1930"/>
                <a:gd name="T4" fmla="*/ 0 w 1977"/>
                <a:gd name="T5" fmla="*/ 973 h 1930"/>
                <a:gd name="T6" fmla="*/ 874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40" y="0"/>
                    <a:pt x="874" y="0"/>
                  </a:cubicBezTo>
                  <a:cubicBezTo>
                    <a:pt x="358" y="0"/>
                    <a:pt x="0" y="429"/>
                    <a:pt x="0" y="973"/>
                  </a:cubicBezTo>
                  <a:cubicBezTo>
                    <a:pt x="0" y="1509"/>
                    <a:pt x="354" y="1930"/>
                    <a:pt x="874" y="1930"/>
                  </a:cubicBezTo>
                  <a:cubicBezTo>
                    <a:pt x="1156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80">
              <a:extLst>
                <a:ext uri="{FF2B5EF4-FFF2-40B4-BE49-F238E27FC236}">
                  <a16:creationId xmlns:a16="http://schemas.microsoft.com/office/drawing/2014/main" id="{D6FCFBC1-29EE-4BC4-BD65-5CC10DC605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000375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3 w 1977"/>
                <a:gd name="T3" fmla="*/ 0 h 1930"/>
                <a:gd name="T4" fmla="*/ 0 w 1977"/>
                <a:gd name="T5" fmla="*/ 973 h 1930"/>
                <a:gd name="T6" fmla="*/ 873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39" y="0"/>
                    <a:pt x="873" y="0"/>
                  </a:cubicBezTo>
                  <a:cubicBezTo>
                    <a:pt x="357" y="0"/>
                    <a:pt x="0" y="429"/>
                    <a:pt x="0" y="973"/>
                  </a:cubicBezTo>
                  <a:cubicBezTo>
                    <a:pt x="0" y="1509"/>
                    <a:pt x="353" y="1930"/>
                    <a:pt x="873" y="1930"/>
                  </a:cubicBezTo>
                  <a:cubicBezTo>
                    <a:pt x="1155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81">
              <a:extLst>
                <a:ext uri="{FF2B5EF4-FFF2-40B4-BE49-F238E27FC236}">
                  <a16:creationId xmlns:a16="http://schemas.microsoft.com/office/drawing/2014/main" id="{1BB60284-2170-4F62-BC10-8BB9333D83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1149350" y="2409825"/>
              <a:ext cx="317500" cy="447675"/>
            </a:xfrm>
            <a:custGeom>
              <a:avLst/>
              <a:gdLst>
                <a:gd name="T0" fmla="*/ 1461 w 1997"/>
                <a:gd name="T1" fmla="*/ 0 h 2819"/>
                <a:gd name="T2" fmla="*/ 1461 w 1997"/>
                <a:gd name="T3" fmla="*/ 1139 h 2819"/>
                <a:gd name="T4" fmla="*/ 873 w 1997"/>
                <a:gd name="T5" fmla="*/ 889 h 2819"/>
                <a:gd name="T6" fmla="*/ 0 w 1997"/>
                <a:gd name="T7" fmla="*/ 1862 h 2819"/>
                <a:gd name="T8" fmla="*/ 873 w 1997"/>
                <a:gd name="T9" fmla="*/ 2819 h 2819"/>
                <a:gd name="T10" fmla="*/ 1461 w 1997"/>
                <a:gd name="T11" fmla="*/ 2568 h 2819"/>
                <a:gd name="T12" fmla="*/ 1461 w 1997"/>
                <a:gd name="T13" fmla="*/ 2779 h 2819"/>
                <a:gd name="T14" fmla="*/ 1997 w 1997"/>
                <a:gd name="T15" fmla="*/ 2779 h 2819"/>
                <a:gd name="T16" fmla="*/ 1997 w 1997"/>
                <a:gd name="T17" fmla="*/ 0 h 2819"/>
                <a:gd name="T18" fmla="*/ 1461 w 1997"/>
                <a:gd name="T19" fmla="*/ 0 h 2819"/>
                <a:gd name="T20" fmla="*/ 1461 w 1997"/>
                <a:gd name="T21" fmla="*/ 2163 h 2819"/>
                <a:gd name="T22" fmla="*/ 1048 w 1997"/>
                <a:gd name="T23" fmla="*/ 2362 h 2819"/>
                <a:gd name="T24" fmla="*/ 560 w 1997"/>
                <a:gd name="T25" fmla="*/ 1854 h 2819"/>
                <a:gd name="T26" fmla="*/ 1048 w 1997"/>
                <a:gd name="T27" fmla="*/ 1346 h 2819"/>
                <a:gd name="T28" fmla="*/ 1461 w 1997"/>
                <a:gd name="T29" fmla="*/ 1544 h 2819"/>
                <a:gd name="T30" fmla="*/ 1461 w 1997"/>
                <a:gd name="T31" fmla="*/ 2163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97" h="2819">
                  <a:moveTo>
                    <a:pt x="1461" y="0"/>
                  </a:moveTo>
                  <a:cubicBezTo>
                    <a:pt x="1461" y="1139"/>
                    <a:pt x="1461" y="1139"/>
                    <a:pt x="1461" y="1139"/>
                  </a:cubicBezTo>
                  <a:cubicBezTo>
                    <a:pt x="1366" y="1040"/>
                    <a:pt x="1171" y="889"/>
                    <a:pt x="873" y="889"/>
                  </a:cubicBezTo>
                  <a:cubicBezTo>
                    <a:pt x="353" y="889"/>
                    <a:pt x="0" y="1318"/>
                    <a:pt x="0" y="1862"/>
                  </a:cubicBezTo>
                  <a:cubicBezTo>
                    <a:pt x="0" y="2406"/>
                    <a:pt x="361" y="2819"/>
                    <a:pt x="873" y="2819"/>
                  </a:cubicBezTo>
                  <a:cubicBezTo>
                    <a:pt x="1171" y="2819"/>
                    <a:pt x="1366" y="2672"/>
                    <a:pt x="1461" y="2568"/>
                  </a:cubicBezTo>
                  <a:cubicBezTo>
                    <a:pt x="1461" y="2779"/>
                    <a:pt x="1461" y="2779"/>
                    <a:pt x="1461" y="2779"/>
                  </a:cubicBezTo>
                  <a:cubicBezTo>
                    <a:pt x="1997" y="2779"/>
                    <a:pt x="1997" y="2779"/>
                    <a:pt x="1997" y="2779"/>
                  </a:cubicBezTo>
                  <a:cubicBezTo>
                    <a:pt x="1997" y="0"/>
                    <a:pt x="1997" y="0"/>
                    <a:pt x="1997" y="0"/>
                  </a:cubicBezTo>
                  <a:lnTo>
                    <a:pt x="1461" y="0"/>
                  </a:lnTo>
                  <a:close/>
                  <a:moveTo>
                    <a:pt x="1461" y="2163"/>
                  </a:moveTo>
                  <a:cubicBezTo>
                    <a:pt x="1389" y="2255"/>
                    <a:pt x="1254" y="2362"/>
                    <a:pt x="1048" y="2362"/>
                  </a:cubicBezTo>
                  <a:cubicBezTo>
                    <a:pt x="762" y="2362"/>
                    <a:pt x="560" y="2155"/>
                    <a:pt x="560" y="1854"/>
                  </a:cubicBezTo>
                  <a:cubicBezTo>
                    <a:pt x="560" y="1552"/>
                    <a:pt x="762" y="1346"/>
                    <a:pt x="1048" y="1346"/>
                  </a:cubicBezTo>
                  <a:cubicBezTo>
                    <a:pt x="1254" y="1346"/>
                    <a:pt x="1389" y="1453"/>
                    <a:pt x="1461" y="1544"/>
                  </a:cubicBezTo>
                  <a:lnTo>
                    <a:pt x="1461" y="216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82">
              <a:extLst>
                <a:ext uri="{FF2B5EF4-FFF2-40B4-BE49-F238E27FC236}">
                  <a16:creationId xmlns:a16="http://schemas.microsoft.com/office/drawing/2014/main" id="{80BC3BD9-57B3-4E52-B7A9-AB02104023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87488" y="2551113"/>
              <a:ext cx="290513" cy="300038"/>
            </a:xfrm>
            <a:custGeom>
              <a:avLst/>
              <a:gdLst>
                <a:gd name="T0" fmla="*/ 1128 w 1839"/>
                <a:gd name="T1" fmla="*/ 0 h 1890"/>
                <a:gd name="T2" fmla="*/ 540 w 1839"/>
                <a:gd name="T3" fmla="*/ 262 h 1890"/>
                <a:gd name="T4" fmla="*/ 540 w 1839"/>
                <a:gd name="T5" fmla="*/ 40 h 1890"/>
                <a:gd name="T6" fmla="*/ 0 w 1839"/>
                <a:gd name="T7" fmla="*/ 40 h 1890"/>
                <a:gd name="T8" fmla="*/ 0 w 1839"/>
                <a:gd name="T9" fmla="*/ 1890 h 1890"/>
                <a:gd name="T10" fmla="*/ 540 w 1839"/>
                <a:gd name="T11" fmla="*/ 1890 h 1890"/>
                <a:gd name="T12" fmla="*/ 540 w 1839"/>
                <a:gd name="T13" fmla="*/ 675 h 1890"/>
                <a:gd name="T14" fmla="*/ 937 w 1839"/>
                <a:gd name="T15" fmla="*/ 464 h 1890"/>
                <a:gd name="T16" fmla="*/ 1295 w 1839"/>
                <a:gd name="T17" fmla="*/ 854 h 1890"/>
                <a:gd name="T18" fmla="*/ 1295 w 1839"/>
                <a:gd name="T19" fmla="*/ 1890 h 1890"/>
                <a:gd name="T20" fmla="*/ 1839 w 1839"/>
                <a:gd name="T21" fmla="*/ 1890 h 1890"/>
                <a:gd name="T22" fmla="*/ 1839 w 1839"/>
                <a:gd name="T23" fmla="*/ 746 h 1890"/>
                <a:gd name="T24" fmla="*/ 1128 w 1839"/>
                <a:gd name="T25" fmla="*/ 0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128" y="0"/>
                  </a:moveTo>
                  <a:cubicBezTo>
                    <a:pt x="826" y="0"/>
                    <a:pt x="632" y="159"/>
                    <a:pt x="540" y="262"/>
                  </a:cubicBezTo>
                  <a:cubicBezTo>
                    <a:pt x="540" y="40"/>
                    <a:pt x="540" y="40"/>
                    <a:pt x="54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90"/>
                    <a:pt x="0" y="1890"/>
                    <a:pt x="0" y="1890"/>
                  </a:cubicBezTo>
                  <a:cubicBezTo>
                    <a:pt x="540" y="1890"/>
                    <a:pt x="540" y="1890"/>
                    <a:pt x="540" y="1890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608" y="580"/>
                    <a:pt x="735" y="464"/>
                    <a:pt x="937" y="464"/>
                  </a:cubicBezTo>
                  <a:cubicBezTo>
                    <a:pt x="1164" y="464"/>
                    <a:pt x="1295" y="611"/>
                    <a:pt x="1295" y="854"/>
                  </a:cubicBezTo>
                  <a:cubicBezTo>
                    <a:pt x="1295" y="1890"/>
                    <a:pt x="1295" y="1890"/>
                    <a:pt x="1295" y="1890"/>
                  </a:cubicBezTo>
                  <a:cubicBezTo>
                    <a:pt x="1839" y="1890"/>
                    <a:pt x="1839" y="1890"/>
                    <a:pt x="1839" y="1890"/>
                  </a:cubicBezTo>
                  <a:cubicBezTo>
                    <a:pt x="1839" y="746"/>
                    <a:pt x="1839" y="746"/>
                    <a:pt x="1839" y="746"/>
                  </a:cubicBezTo>
                  <a:cubicBezTo>
                    <a:pt x="1839" y="310"/>
                    <a:pt x="1588" y="0"/>
                    <a:pt x="112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83">
              <a:extLst>
                <a:ext uri="{FF2B5EF4-FFF2-40B4-BE49-F238E27FC236}">
                  <a16:creationId xmlns:a16="http://schemas.microsoft.com/office/drawing/2014/main" id="{671CF420-5AC8-4B97-B9B4-9D4502262E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86000" y="2403475"/>
              <a:ext cx="238125" cy="447675"/>
            </a:xfrm>
            <a:custGeom>
              <a:avLst/>
              <a:gdLst>
                <a:gd name="T0" fmla="*/ 1128 w 1505"/>
                <a:gd name="T1" fmla="*/ 449 h 2819"/>
                <a:gd name="T2" fmla="*/ 1418 w 1505"/>
                <a:gd name="T3" fmla="*/ 528 h 2819"/>
                <a:gd name="T4" fmla="*/ 1505 w 1505"/>
                <a:gd name="T5" fmla="*/ 115 h 2819"/>
                <a:gd name="T6" fmla="*/ 1009 w 1505"/>
                <a:gd name="T7" fmla="*/ 0 h 2819"/>
                <a:gd name="T8" fmla="*/ 274 w 1505"/>
                <a:gd name="T9" fmla="*/ 750 h 2819"/>
                <a:gd name="T10" fmla="*/ 274 w 1505"/>
                <a:gd name="T11" fmla="*/ 969 h 2819"/>
                <a:gd name="T12" fmla="*/ 0 w 1505"/>
                <a:gd name="T13" fmla="*/ 969 h 2819"/>
                <a:gd name="T14" fmla="*/ 0 w 1505"/>
                <a:gd name="T15" fmla="*/ 1413 h 2819"/>
                <a:gd name="T16" fmla="*/ 274 w 1505"/>
                <a:gd name="T17" fmla="*/ 1413 h 2819"/>
                <a:gd name="T18" fmla="*/ 274 w 1505"/>
                <a:gd name="T19" fmla="*/ 2819 h 2819"/>
                <a:gd name="T20" fmla="*/ 826 w 1505"/>
                <a:gd name="T21" fmla="*/ 2819 h 2819"/>
                <a:gd name="T22" fmla="*/ 826 w 1505"/>
                <a:gd name="T23" fmla="*/ 1413 h 2819"/>
                <a:gd name="T24" fmla="*/ 1453 w 1505"/>
                <a:gd name="T25" fmla="*/ 1413 h 2819"/>
                <a:gd name="T26" fmla="*/ 1453 w 1505"/>
                <a:gd name="T27" fmla="*/ 969 h 2819"/>
                <a:gd name="T28" fmla="*/ 826 w 1505"/>
                <a:gd name="T29" fmla="*/ 969 h 2819"/>
                <a:gd name="T30" fmla="*/ 826 w 1505"/>
                <a:gd name="T31" fmla="*/ 798 h 2819"/>
                <a:gd name="T32" fmla="*/ 1128 w 1505"/>
                <a:gd name="T33" fmla="*/ 449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05" h="2819">
                  <a:moveTo>
                    <a:pt x="1128" y="449"/>
                  </a:moveTo>
                  <a:cubicBezTo>
                    <a:pt x="1310" y="449"/>
                    <a:pt x="1418" y="528"/>
                    <a:pt x="1418" y="528"/>
                  </a:cubicBezTo>
                  <a:cubicBezTo>
                    <a:pt x="1505" y="115"/>
                    <a:pt x="1505" y="115"/>
                    <a:pt x="1505" y="115"/>
                  </a:cubicBezTo>
                  <a:cubicBezTo>
                    <a:pt x="1505" y="115"/>
                    <a:pt x="1358" y="0"/>
                    <a:pt x="1009" y="0"/>
                  </a:cubicBezTo>
                  <a:cubicBezTo>
                    <a:pt x="556" y="0"/>
                    <a:pt x="274" y="262"/>
                    <a:pt x="274" y="750"/>
                  </a:cubicBezTo>
                  <a:cubicBezTo>
                    <a:pt x="274" y="969"/>
                    <a:pt x="274" y="969"/>
                    <a:pt x="274" y="969"/>
                  </a:cubicBezTo>
                  <a:cubicBezTo>
                    <a:pt x="0" y="969"/>
                    <a:pt x="0" y="969"/>
                    <a:pt x="0" y="969"/>
                  </a:cubicBezTo>
                  <a:cubicBezTo>
                    <a:pt x="0" y="1413"/>
                    <a:pt x="0" y="1413"/>
                    <a:pt x="0" y="1413"/>
                  </a:cubicBezTo>
                  <a:cubicBezTo>
                    <a:pt x="274" y="1413"/>
                    <a:pt x="274" y="1413"/>
                    <a:pt x="274" y="1413"/>
                  </a:cubicBezTo>
                  <a:cubicBezTo>
                    <a:pt x="274" y="2819"/>
                    <a:pt x="274" y="2819"/>
                    <a:pt x="274" y="2819"/>
                  </a:cubicBezTo>
                  <a:cubicBezTo>
                    <a:pt x="826" y="2819"/>
                    <a:pt x="826" y="2819"/>
                    <a:pt x="826" y="2819"/>
                  </a:cubicBezTo>
                  <a:cubicBezTo>
                    <a:pt x="826" y="1413"/>
                    <a:pt x="826" y="1413"/>
                    <a:pt x="826" y="1413"/>
                  </a:cubicBezTo>
                  <a:cubicBezTo>
                    <a:pt x="1453" y="1413"/>
                    <a:pt x="1453" y="1413"/>
                    <a:pt x="1453" y="1413"/>
                  </a:cubicBezTo>
                  <a:cubicBezTo>
                    <a:pt x="1453" y="969"/>
                    <a:pt x="1453" y="969"/>
                    <a:pt x="1453" y="969"/>
                  </a:cubicBezTo>
                  <a:cubicBezTo>
                    <a:pt x="826" y="969"/>
                    <a:pt x="826" y="969"/>
                    <a:pt x="826" y="969"/>
                  </a:cubicBezTo>
                  <a:cubicBezTo>
                    <a:pt x="826" y="798"/>
                    <a:pt x="826" y="798"/>
                    <a:pt x="826" y="798"/>
                  </a:cubicBezTo>
                  <a:cubicBezTo>
                    <a:pt x="826" y="564"/>
                    <a:pt x="933" y="449"/>
                    <a:pt x="1128" y="44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Rectangle 184">
              <a:extLst>
                <a:ext uri="{FF2B5EF4-FFF2-40B4-BE49-F238E27FC236}">
                  <a16:creationId xmlns:a16="http://schemas.microsoft.com/office/drawing/2014/main" id="{564B5D36-C34B-456C-9695-9EBC0F2156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006600" y="2409825"/>
              <a:ext cx="87313" cy="4413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8" name="Datumsplatzhalter 5">
            <a:extLst>
              <a:ext uri="{FF2B5EF4-FFF2-40B4-BE49-F238E27FC236}">
                <a16:creationId xmlns:a16="http://schemas.microsoft.com/office/drawing/2014/main" id="{7CA6FD54-7DF6-4D17-A697-39784AF18FA5}"/>
              </a:ext>
            </a:extLst>
          </p:cNvPr>
          <p:cNvSpPr>
            <a:spLocks noGrp="1"/>
          </p:cNvSpPr>
          <p:nvPr>
            <p:ph type="dt" sz="half" idx="1"/>
          </p:nvPr>
        </p:nvSpPr>
        <p:spPr bwMode="gray">
          <a:xfrm>
            <a:off x="5320812" y="9428608"/>
            <a:ext cx="576064" cy="216024"/>
          </a:xfrm>
          <a:prstGeom prst="rect">
            <a:avLst/>
          </a:prstGeom>
        </p:spPr>
        <p:txBody>
          <a:bodyPr vert="horz" wrap="none" lIns="0" tIns="46800" rIns="0" bIns="0" rtlCol="0" anchor="t">
            <a:noAutofit/>
          </a:bodyPr>
          <a:lstStyle>
            <a:lvl1pPr marL="0" algn="l">
              <a:defRPr sz="900">
                <a:solidFill>
                  <a:srgbClr val="5D6C73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5984B1DE-2957-4BDD-8BFE-15A7D792B648}" type="datetime1">
              <a:rPr lang="de-DE" smtClean="0">
                <a:solidFill>
                  <a:srgbClr val="5D6C73"/>
                </a:solidFill>
              </a:rPr>
              <a:t>18.08.2023</a:t>
            </a:fld>
            <a:endParaRPr lang="de-DE" dirty="0">
              <a:solidFill>
                <a:srgbClr val="5D6C73"/>
              </a:solidFill>
            </a:endParaRPr>
          </a:p>
        </p:txBody>
      </p:sp>
      <p:sp>
        <p:nvSpPr>
          <p:cNvPr id="29" name="Fußzeilenplatzhalter 6">
            <a:extLst>
              <a:ext uri="{FF2B5EF4-FFF2-40B4-BE49-F238E27FC236}">
                <a16:creationId xmlns:a16="http://schemas.microsoft.com/office/drawing/2014/main" id="{DE7BF653-67F2-4F8E-A966-F6F5A316AB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gray">
          <a:xfrm>
            <a:off x="469370" y="9428608"/>
            <a:ext cx="4779434" cy="216024"/>
          </a:xfrm>
          <a:prstGeom prst="rect">
            <a:avLst/>
          </a:prstGeom>
        </p:spPr>
        <p:txBody>
          <a:bodyPr vert="horz" lIns="0" tIns="46800" rIns="0" bIns="0" rtlCol="0" anchor="t"/>
          <a:lstStyle>
            <a:lvl1pPr marL="0" algn="r">
              <a:defRPr sz="900">
                <a:solidFill>
                  <a:srgbClr val="5D6C73"/>
                </a:solidFill>
              </a:defRPr>
            </a:lvl1pPr>
            <a:lvl2pPr marL="0" algn="r">
              <a:defRPr sz="900"/>
            </a:lvl2pPr>
            <a:lvl3pPr marL="0" algn="r">
              <a:defRPr sz="900"/>
            </a:lvl3pPr>
            <a:lvl4pPr marL="0" algn="r">
              <a:defRPr sz="900"/>
            </a:lvl4pPr>
            <a:lvl5pPr marL="0" algn="r">
              <a:defRPr sz="900"/>
            </a:lvl5pPr>
            <a:lvl6pPr marL="0" algn="r">
              <a:defRPr sz="900"/>
            </a:lvl6pPr>
            <a:lvl7pPr marL="0" algn="r">
              <a:defRPr sz="900"/>
            </a:lvl7pPr>
            <a:lvl8pPr marL="0" algn="r">
              <a:defRPr sz="900"/>
            </a:lvl8pPr>
            <a:lvl9pPr marL="0" algn="r">
              <a:defRPr sz="900"/>
            </a:lvl9pPr>
          </a:lstStyle>
          <a:p>
            <a:r>
              <a:rPr lang="de-DE" dirty="0"/>
              <a:t>Fußzeile</a:t>
            </a:r>
          </a:p>
        </p:txBody>
      </p:sp>
      <p:sp>
        <p:nvSpPr>
          <p:cNvPr id="30" name="Foliennummernplatzhalter 7">
            <a:extLst>
              <a:ext uri="{FF2B5EF4-FFF2-40B4-BE49-F238E27FC236}">
                <a16:creationId xmlns:a16="http://schemas.microsoft.com/office/drawing/2014/main" id="{514C74BE-BCDA-4E9C-8A63-607C8AF770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gray">
          <a:xfrm>
            <a:off x="5968305" y="9428632"/>
            <a:ext cx="360000" cy="216000"/>
          </a:xfrm>
          <a:prstGeom prst="rect">
            <a:avLst/>
          </a:prstGeom>
        </p:spPr>
        <p:txBody>
          <a:bodyPr vert="horz" lIns="0" tIns="46800" rIns="0" bIns="0" rtlCol="0" anchor="t"/>
          <a:lstStyle>
            <a:lvl1pPr marL="0" algn="r">
              <a:defRPr sz="900">
                <a:solidFill>
                  <a:srgbClr val="5D6C73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>
              <a:solidFill>
                <a:srgbClr val="5D6C73"/>
              </a:solidFill>
            </a:endParaRPr>
          </a:p>
        </p:txBody>
      </p:sp>
      <p:sp>
        <p:nvSpPr>
          <p:cNvPr id="31" name="Kopfzeilenplatzhalter 1">
            <a:extLst>
              <a:ext uri="{FF2B5EF4-FFF2-40B4-BE49-F238E27FC236}">
                <a16:creationId xmlns:a16="http://schemas.microsoft.com/office/drawing/2014/main" id="{E9A22E5C-E578-45D1-BC12-588B455AD4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9415" y="205234"/>
            <a:ext cx="4706922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/>
            </a:lvl1pPr>
          </a:lstStyle>
          <a:p>
            <a:pPr lvl="0"/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377" rtl="0" eaLnBrk="1" latinLnBrk="0" hangingPunct="1">
      <a:lnSpc>
        <a:spcPct val="100000"/>
      </a:lnSpc>
      <a:spcBef>
        <a:spcPts val="1200"/>
      </a:spcBef>
      <a:spcAft>
        <a:spcPts val="600"/>
      </a:spcAft>
      <a:defRPr sz="1100" b="1" i="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Clr>
        <a:schemeClr val="accent4"/>
      </a:buClr>
      <a:buFontTx/>
      <a:buNone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764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Clr>
        <a:schemeClr val="accent4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3528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5292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7056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7056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7056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705600" indent="-176400" algn="l" defTabSz="914377" rtl="0" eaLnBrk="1" latinLnBrk="0" hangingPunct="1">
      <a:lnSpc>
        <a:spcPct val="100000"/>
      </a:lnSpc>
      <a:spcBef>
        <a:spcPts val="300"/>
      </a:spcBef>
      <a:spcAft>
        <a:spcPts val="3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-7620" y="2541251"/>
            <a:ext cx="6751689" cy="2975981"/>
          </a:xfrm>
          <a:custGeom>
            <a:avLst/>
            <a:gdLst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  <a:gd name="connsiteX4" fmla="*/ 0 w 8012636"/>
              <a:gd name="connsiteY4" fmla="*/ 0 h 1533984"/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  <a:gd name="connsiteX4" fmla="*/ 91440 w 8012636"/>
              <a:gd name="connsiteY4" fmla="*/ 91440 h 1533984"/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12636" h="1533984">
                <a:moveTo>
                  <a:pt x="0" y="0"/>
                </a:moveTo>
                <a:lnTo>
                  <a:pt x="8012636" y="0"/>
                </a:lnTo>
                <a:lnTo>
                  <a:pt x="8012636" y="1533984"/>
                </a:lnTo>
                <a:lnTo>
                  <a:pt x="0" y="1533984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 wrap="square" lIns="576000" tIns="216000" rIns="216000" bIns="151200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 i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3 Zeilen)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50863" y="4991201"/>
            <a:ext cx="5976000" cy="504000"/>
          </a:xfrm>
        </p:spPr>
        <p:txBody>
          <a:bodyPr rIns="216000" b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50863" y="4271121"/>
            <a:ext cx="5976000" cy="720080"/>
          </a:xfrm>
        </p:spPr>
        <p:txBody>
          <a:bodyPr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ereichsbezeichnung</a:t>
            </a:r>
            <a:br>
              <a:rPr lang="de-DE" dirty="0"/>
            </a:br>
            <a:r>
              <a:rPr lang="de-DE" dirty="0"/>
              <a:t>Vorname, Nam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79F738F-EF21-450E-8F2E-5C18AA9539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18400" y="288000"/>
            <a:ext cx="1483200" cy="14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3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9D7290B-3B2E-424C-A877-73F707496944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907B13B3-94DC-4D50-A1B7-FBA6D9A7FF71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428352-8BB1-4C27-850B-7A071E91B87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0E92757-9ABF-421D-B18F-73BAB24A0A2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Quelle">
            <a:extLst>
              <a:ext uri="{FF2B5EF4-FFF2-40B4-BE49-F238E27FC236}">
                <a16:creationId xmlns:a16="http://schemas.microsoft.com/office/drawing/2014/main" id="{F0ABEC32-850F-4805-B2BE-902FCDE4E9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256240" y="1557338"/>
            <a:ext cx="3528392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213" y="1557338"/>
            <a:ext cx="345698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3527424" cy="446352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Untertitel">
            <a:extLst>
              <a:ext uri="{FF2B5EF4-FFF2-40B4-BE49-F238E27FC236}">
                <a16:creationId xmlns:a16="http://schemas.microsoft.com/office/drawing/2014/main" id="{806A28BC-A7D6-422D-8644-3FA2C23FA1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60680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D2FDC5-092C-434B-8900-21F892CFC85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256239" y="0"/>
            <a:ext cx="3935761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17" name="Quelle">
            <a:extLst>
              <a:ext uri="{FF2B5EF4-FFF2-40B4-BE49-F238E27FC236}">
                <a16:creationId xmlns:a16="http://schemas.microsoft.com/office/drawing/2014/main" id="{CD721EC9-5A38-40FA-A820-F5B47C3ED9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7416204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4D48F936-1F12-4A58-BC36-4966DFA85F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60680"/>
            <a:ext cx="7414941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FD90E9-CD5A-47CB-81A8-51EC1D408A0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620768"/>
            <a:ext cx="7416204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7190595-5485-4E19-858A-E1ADBC8A422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4392BD8-D610-47B2-A566-ACD76DA76CE9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1FB9379-FAA3-4FE4-BCE8-394F162FAA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968E856-7B9E-46FB-860B-B6E89BE8705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15" name="Quelle">
            <a:extLst>
              <a:ext uri="{FF2B5EF4-FFF2-40B4-BE49-F238E27FC236}">
                <a16:creationId xmlns:a16="http://schemas.microsoft.com/office/drawing/2014/main" id="{91A74B34-3071-4206-95F9-EDB3699A3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1987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EAAC32E4-EDBF-4A44-A96E-F74E5F436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5471344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4B3B44E-F785-4EC7-8518-50EDB76FA63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620768"/>
            <a:ext cx="5472732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38E346-DBDE-4DC8-B534-B8860DC3FA8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5DB4268-4B00-4709-9F01-7947DFFC5E62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B1E009-7C1D-4502-8AF7-702E506BA2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E9368BD-0198-44CD-BA58-C346CE787A5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8349D81-03EE-4D58-B1F1-A87DE415F14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149385D-8BAA-4465-BB47-DDA1A92A4CB8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D2DB39C-1DFE-4E61-ACD4-A93458079C5F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45F1009-D19C-47F2-BEC0-784879845D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Quelle">
            <a:extLst>
              <a:ext uri="{FF2B5EF4-FFF2-40B4-BE49-F238E27FC236}">
                <a16:creationId xmlns:a16="http://schemas.microsoft.com/office/drawing/2014/main" id="{1431A31B-9D1E-4BC9-808B-41E3327CF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381328"/>
            <a:ext cx="6338489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641BED08-719F-455F-B168-89939875C8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FECBBB-507E-40D7-A647-127A63EC020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7399CF-1EDD-48F4-ACFA-B5084157279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B98F7C-5DFD-44D7-954D-429466EFA246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05C9D5-EF2D-451C-894F-088D5912D91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9D3E59E-9640-4057-8796-72BA726D132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490BACD-2229-4AF3-A1D0-9FB8C6A21F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1902" y="0"/>
            <a:ext cx="58800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1" name="Quelle">
            <a:extLst>
              <a:ext uri="{FF2B5EF4-FFF2-40B4-BE49-F238E27FC236}">
                <a16:creationId xmlns:a16="http://schemas.microsoft.com/office/drawing/2014/main" id="{C4193BA8-9454-46D8-AE93-FD5A699EC9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5832130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2" name="Untertitel">
            <a:extLst>
              <a:ext uri="{FF2B5EF4-FFF2-40B4-BE49-F238E27FC236}">
                <a16:creationId xmlns:a16="http://schemas.microsoft.com/office/drawing/2014/main" id="{C9C597F4-8A3E-42F7-8434-2F00B8905F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547134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AAB05D-658B-4534-BD13-357FC58130F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620768"/>
            <a:ext cx="5471345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D1C181-B519-403B-AEE4-C3595961860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911952-8818-4EBB-BD7E-3EE265A44921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B60144E-7DB6-44E1-9EB7-CA7D1B7F868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B66D762-2984-458F-AD5D-A37DE764542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6" y="3501000"/>
            <a:ext cx="5879974" cy="3357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0"/>
            <a:ext cx="5879973" cy="3356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Quelle">
            <a:extLst>
              <a:ext uri="{FF2B5EF4-FFF2-40B4-BE49-F238E27FC236}">
                <a16:creationId xmlns:a16="http://schemas.microsoft.com/office/drawing/2014/main" id="{BF7A7EAD-AFAB-4571-88AA-99D7E5C6CA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5832254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Untertitel">
            <a:extLst>
              <a:ext uri="{FF2B5EF4-FFF2-40B4-BE49-F238E27FC236}">
                <a16:creationId xmlns:a16="http://schemas.microsoft.com/office/drawing/2014/main" id="{17EE858E-80CD-46BA-A9CD-198035820F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547134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81DA14-A54F-41DE-900A-72EB6AFBD21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620768"/>
            <a:ext cx="5471988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5D501D-7AC5-4832-89E2-07EF0C68108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8DCC2B-0547-4DCA-815F-3B7B2A38C635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C0BCAF-7E03-43E2-A705-E8148294D5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7ED11A-E38A-4DE9-AF27-B8E8237DF14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501008"/>
            <a:ext cx="5879975" cy="3356992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Quelle">
            <a:extLst>
              <a:ext uri="{FF2B5EF4-FFF2-40B4-BE49-F238E27FC236}">
                <a16:creationId xmlns:a16="http://schemas.microsoft.com/office/drawing/2014/main" id="{3048EB8C-D8AC-4002-A79E-17D40FAC37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381328"/>
            <a:ext cx="5832253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5" y="1"/>
            <a:ext cx="2867607" cy="3356992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324393" y="0"/>
            <a:ext cx="2867608" cy="3356992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EBB8DDAB-C3CF-456F-BCA9-3CE8CAD5CE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547134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D347AFC-F4E9-425F-A81F-92D96C158D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620768"/>
            <a:ext cx="5472732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B7B8F99-6DD6-4B56-8B6A-11D2A7D9F9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C7DE185-31F6-4E77-BE6F-580C6CFEA85E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7BFAB439-660E-443C-AE72-06A767E63B82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7C6EF22-3A3C-474F-A35D-A8BE40D31E3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2" name="Quelle">
            <a:extLst>
              <a:ext uri="{FF2B5EF4-FFF2-40B4-BE49-F238E27FC236}">
                <a16:creationId xmlns:a16="http://schemas.microsoft.com/office/drawing/2014/main" id="{9F3FCCC0-448D-4B2E-ABF8-4184D0CB6A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256588" y="4631678"/>
            <a:ext cx="3935412" cy="138960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631678"/>
            <a:ext cx="7416799" cy="138961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256588" y="3100589"/>
            <a:ext cx="3935412" cy="1382663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081913"/>
            <a:ext cx="7417033" cy="1382663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256588" y="1557338"/>
            <a:ext cx="3935412" cy="138787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17033" cy="1387878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1" name="Untertitel">
            <a:extLst>
              <a:ext uri="{FF2B5EF4-FFF2-40B4-BE49-F238E27FC236}">
                <a16:creationId xmlns:a16="http://schemas.microsoft.com/office/drawing/2014/main" id="{F08FA18F-B969-47AE-AB89-BF0B490FBF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EEE0321-2BEE-42B2-8506-CF370195D81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84406B-995B-4453-B061-C2FA9688FC1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142FBB-C0CB-42CB-958E-A1FC9CDEA8DC}"/>
              </a:ext>
            </a:extLst>
          </p:cNvPr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fld id="{35F93712-3806-41D4-A9AF-A95DDDB23A77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E19B71-CA14-4833-9443-01486E82824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04AF85D4-B6DC-407C-AF93-E620DD69DC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25"/>
          </p:nvPr>
        </p:nvSpPr>
        <p:spPr bwMode="gray">
          <a:xfrm>
            <a:off x="0" y="3843048"/>
            <a:ext cx="12192000" cy="36000"/>
          </a:xfrm>
          <a:solidFill>
            <a:schemeClr val="accent4"/>
          </a:solidFill>
          <a:ln>
            <a:noFill/>
          </a:ln>
        </p:spPr>
        <p:txBody>
          <a:bodyPr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6" name="Quelle">
            <a:extLst>
              <a:ext uri="{FF2B5EF4-FFF2-40B4-BE49-F238E27FC236}">
                <a16:creationId xmlns:a16="http://schemas.microsoft.com/office/drawing/2014/main" id="{59E7C550-A146-4871-80CE-012F66F313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255993" y="4005064"/>
            <a:ext cx="3528018" cy="2015676"/>
          </a:xfrm>
        </p:spPr>
        <p:txBody>
          <a:bodyPr rIns="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255992" y="1556792"/>
            <a:ext cx="3936008" cy="2160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560" y="4005064"/>
            <a:ext cx="3456633" cy="2015676"/>
          </a:xfrm>
        </p:spPr>
        <p:txBody>
          <a:bodyPr rIns="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079760" y="1556792"/>
            <a:ext cx="4028700" cy="2160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91" y="4005064"/>
            <a:ext cx="3527770" cy="2015676"/>
          </a:xfrm>
        </p:spPr>
        <p:txBody>
          <a:bodyPr rIns="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1556792"/>
            <a:ext cx="3935760" cy="2160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7F71C0AA-410A-4752-BA46-0F575AE2CD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11375999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4707399-275B-4F2F-8E96-5A22B36287F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7F3D3CFB-0E91-44F7-88CA-F1D1B77A48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04360069-DC76-4E75-9E61-4F1D9687238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-7620" y="2541251"/>
            <a:ext cx="6751692" cy="2975981"/>
          </a:xfrm>
          <a:custGeom>
            <a:avLst/>
            <a:gdLst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  <a:gd name="connsiteX4" fmla="*/ 0 w 8012636"/>
              <a:gd name="connsiteY4" fmla="*/ 0 h 1533984"/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  <a:gd name="connsiteX4" fmla="*/ 91440 w 8012636"/>
              <a:gd name="connsiteY4" fmla="*/ 91440 h 1533984"/>
              <a:gd name="connsiteX0" fmla="*/ 0 w 8012636"/>
              <a:gd name="connsiteY0" fmla="*/ 0 h 1533984"/>
              <a:gd name="connsiteX1" fmla="*/ 8012636 w 8012636"/>
              <a:gd name="connsiteY1" fmla="*/ 0 h 1533984"/>
              <a:gd name="connsiteX2" fmla="*/ 8012636 w 8012636"/>
              <a:gd name="connsiteY2" fmla="*/ 1533984 h 1533984"/>
              <a:gd name="connsiteX3" fmla="*/ 0 w 8012636"/>
              <a:gd name="connsiteY3" fmla="*/ 1533984 h 1533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12636" h="1533984">
                <a:moveTo>
                  <a:pt x="0" y="0"/>
                </a:moveTo>
                <a:lnTo>
                  <a:pt x="8012636" y="0"/>
                </a:lnTo>
                <a:lnTo>
                  <a:pt x="8012636" y="1533984"/>
                </a:lnTo>
                <a:lnTo>
                  <a:pt x="0" y="1533984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 wrap="square" lIns="576000" tIns="216000" rIns="216000" bIns="151200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 i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3 Zeilen)</a:t>
            </a: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387C77B7-4461-44DB-AFAD-8FDBDC30CF1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3" y="4271121"/>
            <a:ext cx="5976000" cy="720080"/>
          </a:xfrm>
        </p:spPr>
        <p:txBody>
          <a:bodyPr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ereichsbezeichnung</a:t>
            </a:r>
            <a:br>
              <a:rPr lang="de-DE" dirty="0"/>
            </a:br>
            <a:r>
              <a:rPr lang="de-DE" dirty="0"/>
              <a:t>Vorname, Name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0B25619D-98C5-44BE-B978-425774E09D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863" y="4991201"/>
            <a:ext cx="5976000" cy="504000"/>
          </a:xfrm>
        </p:spPr>
        <p:txBody>
          <a:bodyPr rIns="216000" b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B4BAEE-DE66-475D-BBD9-EC7C77961F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18400" y="288000"/>
            <a:ext cx="1483200" cy="1483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311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080F63-2532-43FD-8BE2-A5674AD4037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124299-B024-41F7-8398-0E6C908FE8E7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EB292E86-E5F0-431A-8AF6-64F939238998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7FB955B-733E-445F-BA7A-67338DB01F1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Medienplatzhalter 4">
            <a:extLst>
              <a:ext uri="{FF2B5EF4-FFF2-40B4-BE49-F238E27FC236}">
                <a16:creationId xmlns:a16="http://schemas.microsoft.com/office/drawing/2014/main" id="{8C0D6109-A216-4221-94FB-B1EF7F8F90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27"/>
          </p:nvPr>
        </p:nvSpPr>
        <p:spPr bwMode="gray">
          <a:xfrm>
            <a:off x="0" y="3843048"/>
            <a:ext cx="12192000" cy="36000"/>
          </a:xfrm>
          <a:solidFill>
            <a:schemeClr val="accent4"/>
          </a:solidFill>
          <a:ln>
            <a:noFill/>
          </a:ln>
        </p:spPr>
        <p:txBody>
          <a:bodyPr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22" name="Quelle">
            <a:extLst>
              <a:ext uri="{FF2B5EF4-FFF2-40B4-BE49-F238E27FC236}">
                <a16:creationId xmlns:a16="http://schemas.microsoft.com/office/drawing/2014/main" id="{7A2A6E48-0287-48EC-9E22-C454E38080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4005064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119956" y="1556792"/>
            <a:ext cx="3072044" cy="21599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09027" y="4004516"/>
            <a:ext cx="2520000" cy="2016224"/>
          </a:xfrm>
        </p:spPr>
        <p:txBody>
          <a:bodyPr rIns="14400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68008" y="1556792"/>
            <a:ext cx="2807948" cy="21599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324" y="4004516"/>
            <a:ext cx="2520000" cy="2016224"/>
          </a:xfrm>
        </p:spPr>
        <p:txBody>
          <a:bodyPr rIns="14400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16044" y="1556792"/>
            <a:ext cx="2807948" cy="21599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4004516"/>
            <a:ext cx="2520000" cy="2016224"/>
          </a:xfrm>
        </p:spPr>
        <p:txBody>
          <a:bodyPr rIns="144000"/>
          <a:lstStyle>
            <a:lvl1pPr>
              <a:spcAft>
                <a:spcPts val="2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1556792"/>
            <a:ext cx="3084362" cy="21599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Untertitel">
            <a:extLst>
              <a:ext uri="{FF2B5EF4-FFF2-40B4-BE49-F238E27FC236}">
                <a16:creationId xmlns:a16="http://schemas.microsoft.com/office/drawing/2014/main" id="{063C739C-B819-4789-BDC8-597F995103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260680"/>
            <a:ext cx="11375999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8DDE97C-60B5-4F54-AB53-AC4A74BA6F8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ogo">
            <a:extLst>
              <a:ext uri="{FF2B5EF4-FFF2-40B4-BE49-F238E27FC236}">
                <a16:creationId xmlns:a16="http://schemas.microsoft.com/office/drawing/2014/main" id="{C968DDA5-A7BA-443F-82BA-9748AD8592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16480" y="288577"/>
            <a:ext cx="1484239" cy="1484239"/>
          </a:xfrm>
          <a:prstGeom prst="rect">
            <a:avLst/>
          </a:prstGeom>
          <a:ln>
            <a:noFill/>
          </a:ln>
        </p:spPr>
      </p:pic>
      <p:sp>
        <p:nvSpPr>
          <p:cNvPr id="35" name="Rahmen">
            <a:extLst>
              <a:ext uri="{FF2B5EF4-FFF2-40B4-BE49-F238E27FC236}">
                <a16:creationId xmlns:a16="http://schemas.microsoft.com/office/drawing/2014/main" id="{7F2DB478-8FDA-4A0A-9112-2ECD973D9591}"/>
              </a:ext>
            </a:extLst>
          </p:cNvPr>
          <p:cNvSpPr/>
          <p:nvPr userDrawn="1"/>
        </p:nvSpPr>
        <p:spPr bwMode="gray">
          <a:xfrm rot="16200000" flipH="1">
            <a:off x="3300029" y="56418"/>
            <a:ext cx="2664296" cy="9264351"/>
          </a:xfrm>
          <a:custGeom>
            <a:avLst/>
            <a:gdLst>
              <a:gd name="connsiteX0" fmla="*/ 0 w 9382125"/>
              <a:gd name="connsiteY0" fmla="*/ 0 h 2809875"/>
              <a:gd name="connsiteX1" fmla="*/ 0 w 9382125"/>
              <a:gd name="connsiteY1" fmla="*/ 2809875 h 2809875"/>
              <a:gd name="connsiteX2" fmla="*/ 9382125 w 9382125"/>
              <a:gd name="connsiteY2" fmla="*/ 2809875 h 2809875"/>
              <a:gd name="connsiteX3" fmla="*/ 9382125 w 9382125"/>
              <a:gd name="connsiteY3" fmla="*/ 0 h 2809875"/>
              <a:gd name="connsiteX4" fmla="*/ 9363075 w 9382125"/>
              <a:gd name="connsiteY4" fmla="*/ 0 h 2809875"/>
              <a:gd name="connsiteX0" fmla="*/ 0 w 9382125"/>
              <a:gd name="connsiteY0" fmla="*/ 0 h 2809875"/>
              <a:gd name="connsiteX1" fmla="*/ 0 w 9382125"/>
              <a:gd name="connsiteY1" fmla="*/ 2809875 h 2809875"/>
              <a:gd name="connsiteX2" fmla="*/ 9382125 w 9382125"/>
              <a:gd name="connsiteY2" fmla="*/ 2809875 h 2809875"/>
              <a:gd name="connsiteX3" fmla="*/ 9382125 w 9382125"/>
              <a:gd name="connsiteY3" fmla="*/ 0 h 280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82125" h="2809875">
                <a:moveTo>
                  <a:pt x="0" y="0"/>
                </a:moveTo>
                <a:lnTo>
                  <a:pt x="0" y="2809875"/>
                </a:lnTo>
                <a:lnTo>
                  <a:pt x="9382125" y="2809875"/>
                </a:lnTo>
                <a:lnTo>
                  <a:pt x="9382125" y="0"/>
                </a:ln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15881" y="5118614"/>
            <a:ext cx="3960000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15880" y="3500462"/>
            <a:ext cx="3960000" cy="1584000"/>
          </a:xfrm>
        </p:spPr>
        <p:txBody>
          <a:bodyPr tIns="180000" anchor="t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4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1385" y="5118614"/>
            <a:ext cx="3960000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3500462"/>
            <a:ext cx="3960000" cy="1584000"/>
          </a:xfrm>
        </p:spPr>
        <p:txBody>
          <a:bodyPr tIns="180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i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1845916"/>
            <a:ext cx="8424936" cy="1295052"/>
          </a:xfrm>
        </p:spPr>
        <p:txBody>
          <a:bodyPr vert="horz" lIns="0" tIns="144000" rIns="0" bIns="0" anchor="b" anchorCtr="0"/>
          <a:lstStyle>
            <a:lvl1pPr algn="l">
              <a:lnSpc>
                <a:spcPct val="100000"/>
              </a:lnSpc>
              <a:spcBef>
                <a:spcPts val="0"/>
              </a:spcBef>
              <a:defRPr sz="3600" b="1" i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1168154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Logo">
            <a:extLst>
              <a:ext uri="{FF2B5EF4-FFF2-40B4-BE49-F238E27FC236}">
                <a16:creationId xmlns:a16="http://schemas.microsoft.com/office/drawing/2014/main" id="{970C43BD-1989-4D86-A618-46D47E556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5016000" y="2349000"/>
            <a:ext cx="2160000" cy="2160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59200"/>
            <a:ext cx="11376000" cy="288000"/>
          </a:xfrm>
          <a:ln>
            <a:solidFill>
              <a:schemeClr val="bg1">
                <a:alpha val="0"/>
              </a:schemeClr>
            </a:solidFill>
          </a:ln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0A7711-C15D-4B21-A884-6F467D233CED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3CB65CD6-E399-46E5-936F-3DA0882E558F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A9D990-C38D-45D7-BAD0-B0FF0A74F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D38364-EB86-4BE0-A481-B7A032BB7D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Rahmen">
            <a:extLst>
              <a:ext uri="{FF2B5EF4-FFF2-40B4-BE49-F238E27FC236}">
                <a16:creationId xmlns:a16="http://schemas.microsoft.com/office/drawing/2014/main" id="{038EA5D1-D4F1-4FD1-88B1-D09E2E92197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2927350" y="1557338"/>
            <a:ext cx="9264650" cy="395922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10000 w 10098"/>
              <a:gd name="connsiteY0" fmla="*/ 10000 h 10231"/>
              <a:gd name="connsiteX1" fmla="*/ 0 w 10098"/>
              <a:gd name="connsiteY1" fmla="*/ 10000 h 10231"/>
              <a:gd name="connsiteX2" fmla="*/ 0 w 10098"/>
              <a:gd name="connsiteY2" fmla="*/ 0 h 10231"/>
              <a:gd name="connsiteX3" fmla="*/ 10000 w 10098"/>
              <a:gd name="connsiteY3" fmla="*/ 0 h 10231"/>
              <a:gd name="connsiteX4" fmla="*/ 10098 w 10098"/>
              <a:gd name="connsiteY4" fmla="*/ 10231 h 10231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10000" y="10000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Quel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  <a:ln>
            <a:solidFill>
              <a:schemeClr val="bg1">
                <a:alpha val="0"/>
              </a:schemeClr>
            </a:solidFill>
          </a:ln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6" name="Textplatzhalter 6-3">
            <a:extLst>
              <a:ext uri="{FF2B5EF4-FFF2-40B4-BE49-F238E27FC236}">
                <a16:creationId xmlns:a16="http://schemas.microsoft.com/office/drawing/2014/main" id="{DEC401EB-0C0B-4E1E-866C-60AA7DC3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625882" y="4725392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55" name="Textplatzhalter 6-2">
            <a:extLst>
              <a:ext uri="{FF2B5EF4-FFF2-40B4-BE49-F238E27FC236}">
                <a16:creationId xmlns:a16="http://schemas.microsoft.com/office/drawing/2014/main" id="{C68B160F-CDE6-4413-8942-765B359164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794028" y="4724995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54" name="Textplatzhalter 6-1">
            <a:extLst>
              <a:ext uri="{FF2B5EF4-FFF2-40B4-BE49-F238E27FC236}">
                <a16:creationId xmlns:a16="http://schemas.microsoft.com/office/drawing/2014/main" id="{9BD496C0-4B09-44F4-99EB-13DB7E7BB1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928840" y="4724995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53" name="Textplatzhalter 5-3">
            <a:extLst>
              <a:ext uri="{FF2B5EF4-FFF2-40B4-BE49-F238E27FC236}">
                <a16:creationId xmlns:a16="http://schemas.microsoft.com/office/drawing/2014/main" id="{CEBF7DA4-0063-4815-BE04-F04CC38EF0B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9625584" y="4149328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52" name="Textplatzhalter 5-2">
            <a:extLst>
              <a:ext uri="{FF2B5EF4-FFF2-40B4-BE49-F238E27FC236}">
                <a16:creationId xmlns:a16="http://schemas.microsoft.com/office/drawing/2014/main" id="{6554C4DF-6CA1-4C48-AFE8-D87400E3C6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793730" y="4148931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51" name="Textplatzhalter 5-1">
            <a:extLst>
              <a:ext uri="{FF2B5EF4-FFF2-40B4-BE49-F238E27FC236}">
                <a16:creationId xmlns:a16="http://schemas.microsoft.com/office/drawing/2014/main" id="{7501AFC8-10A7-42C6-B22B-7344108BF46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928542" y="4148931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50" name="Textplatzhalter 4-3">
            <a:extLst>
              <a:ext uri="{FF2B5EF4-FFF2-40B4-BE49-F238E27FC236}">
                <a16:creationId xmlns:a16="http://schemas.microsoft.com/office/drawing/2014/main" id="{73613F52-3021-4855-9D18-B7C7D96385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9625286" y="3573264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49" name="Textplatzhalter 4-2">
            <a:extLst>
              <a:ext uri="{FF2B5EF4-FFF2-40B4-BE49-F238E27FC236}">
                <a16:creationId xmlns:a16="http://schemas.microsoft.com/office/drawing/2014/main" id="{7F77C85E-DEFC-4DCF-86C0-10A7692C8F1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793432" y="3572867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48" name="Textplatzhalter 4-1">
            <a:extLst>
              <a:ext uri="{FF2B5EF4-FFF2-40B4-BE49-F238E27FC236}">
                <a16:creationId xmlns:a16="http://schemas.microsoft.com/office/drawing/2014/main" id="{41362BAE-74D5-469B-B661-FC85202C44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928244" y="3572867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7" name="Textplatzhalter 3-3">
            <a:extLst>
              <a:ext uri="{FF2B5EF4-FFF2-40B4-BE49-F238E27FC236}">
                <a16:creationId xmlns:a16="http://schemas.microsoft.com/office/drawing/2014/main" id="{C9DEA275-0CC6-4DAE-827C-8E24D8822A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624988" y="2997200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46" name="Textplatzhalter 3-2">
            <a:extLst>
              <a:ext uri="{FF2B5EF4-FFF2-40B4-BE49-F238E27FC236}">
                <a16:creationId xmlns:a16="http://schemas.microsoft.com/office/drawing/2014/main" id="{D561C059-22AA-42EB-AA7D-1382F65649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793134" y="2996803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45" name="Textplatzhalter 3-1">
            <a:extLst>
              <a:ext uri="{FF2B5EF4-FFF2-40B4-BE49-F238E27FC236}">
                <a16:creationId xmlns:a16="http://schemas.microsoft.com/office/drawing/2014/main" id="{763704DD-B0DA-41E3-AF0B-99EEE0AA2E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927946" y="2996803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4" name="Textplatzhalter 2-3">
            <a:extLst>
              <a:ext uri="{FF2B5EF4-FFF2-40B4-BE49-F238E27FC236}">
                <a16:creationId xmlns:a16="http://schemas.microsoft.com/office/drawing/2014/main" id="{5D680BC3-DF57-4466-BE93-42481365810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624690" y="2421136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43" name="Textplatzhalter 2-2">
            <a:extLst>
              <a:ext uri="{FF2B5EF4-FFF2-40B4-BE49-F238E27FC236}">
                <a16:creationId xmlns:a16="http://schemas.microsoft.com/office/drawing/2014/main" id="{A9B3C898-9172-4835-86DE-4DC02845FB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792836" y="2420739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42" name="Textplatzhalter 2-1">
            <a:extLst>
              <a:ext uri="{FF2B5EF4-FFF2-40B4-BE49-F238E27FC236}">
                <a16:creationId xmlns:a16="http://schemas.microsoft.com/office/drawing/2014/main" id="{8387B449-594D-4768-8303-12874A9AA42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927648" y="2420739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1" name="Textplatzhalter 1-3">
            <a:extLst>
              <a:ext uri="{FF2B5EF4-FFF2-40B4-BE49-F238E27FC236}">
                <a16:creationId xmlns:a16="http://schemas.microsoft.com/office/drawing/2014/main" id="{11786719-0469-45CF-86B5-EB7B0E2295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624392" y="1845072"/>
            <a:ext cx="216024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00:00 – 00:00 Uhr</a:t>
            </a:r>
          </a:p>
        </p:txBody>
      </p:sp>
      <p:sp>
        <p:nvSpPr>
          <p:cNvPr id="40" name="Textplatzhalter 1-2">
            <a:extLst>
              <a:ext uri="{FF2B5EF4-FFF2-40B4-BE49-F238E27FC236}">
                <a16:creationId xmlns:a16="http://schemas.microsoft.com/office/drawing/2014/main" id="{8CA17E35-3628-4D87-B155-499F863CA0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92538" y="1844675"/>
            <a:ext cx="575945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 in maximal zwei Zeilen</a:t>
            </a:r>
          </a:p>
        </p:txBody>
      </p:sp>
      <p:sp>
        <p:nvSpPr>
          <p:cNvPr id="38" name="Textplatzhalter 1-1">
            <a:extLst>
              <a:ext uri="{FF2B5EF4-FFF2-40B4-BE49-F238E27FC236}">
                <a16:creationId xmlns:a16="http://schemas.microsoft.com/office/drawing/2014/main" id="{60C4FFDD-5E41-40B6-BEEA-70B7C8AB97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927350" y="1844675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6799" y="619201"/>
            <a:ext cx="11377214" cy="649560"/>
          </a:xfrm>
          <a:prstGeom prst="rect">
            <a:avLst/>
          </a:prstGeom>
          <a:ln w="3810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1891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ahmen">
            <a:extLst>
              <a:ext uri="{FF2B5EF4-FFF2-40B4-BE49-F238E27FC236}">
                <a16:creationId xmlns:a16="http://schemas.microsoft.com/office/drawing/2014/main" id="{D758836B-8EEB-4838-9851-09887081A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2927350" y="1557338"/>
            <a:ext cx="9264650" cy="395922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10000 w 10098"/>
              <a:gd name="connsiteY0" fmla="*/ 10000 h 10231"/>
              <a:gd name="connsiteX1" fmla="*/ 0 w 10098"/>
              <a:gd name="connsiteY1" fmla="*/ 10000 h 10231"/>
              <a:gd name="connsiteX2" fmla="*/ 0 w 10098"/>
              <a:gd name="connsiteY2" fmla="*/ 0 h 10231"/>
              <a:gd name="connsiteX3" fmla="*/ 10000 w 10098"/>
              <a:gd name="connsiteY3" fmla="*/ 0 h 10231"/>
              <a:gd name="connsiteX4" fmla="*/ 10098 w 10098"/>
              <a:gd name="connsiteY4" fmla="*/ 10231 h 10231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10000" y="10000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59200"/>
            <a:ext cx="11376000" cy="288000"/>
          </a:xfrm>
          <a:ln>
            <a:solidFill>
              <a:schemeClr val="tx1">
                <a:alpha val="0"/>
              </a:schemeClr>
            </a:solidFill>
          </a:ln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  <a:ln>
            <a:solidFill>
              <a:schemeClr val="tx1">
                <a:alpha val="0"/>
              </a:schemeClr>
            </a:solidFill>
          </a:ln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72BFBED-E1B7-4551-95F9-410C0321EEE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919BBAF-7949-4C20-9CAF-2AE97F656C34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1FB6FB-07E7-47CB-9502-2CCE9C958E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4F0953-21C2-4C36-AF1D-145FEDCC4A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12-2">
            <a:extLst>
              <a:ext uri="{FF2B5EF4-FFF2-40B4-BE49-F238E27FC236}">
                <a16:creationId xmlns:a16="http://schemas.microsoft.com/office/drawing/2014/main" id="{DF8180CB-A633-49CA-A9EA-3138F53D4B3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257034" y="4725144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42" name="Textplatzhalter 12-1">
            <a:extLst>
              <a:ext uri="{FF2B5EF4-FFF2-40B4-BE49-F238E27FC236}">
                <a16:creationId xmlns:a16="http://schemas.microsoft.com/office/drawing/2014/main" id="{F6A51923-8A42-4E8B-87E5-74D0EB77A5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391846" y="4725144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1" name="Textplatzhalter 11-2">
            <a:extLst>
              <a:ext uri="{FF2B5EF4-FFF2-40B4-BE49-F238E27FC236}">
                <a16:creationId xmlns:a16="http://schemas.microsoft.com/office/drawing/2014/main" id="{39BA176F-9E19-4649-8B01-AD8F7275EB6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256736" y="4149080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40" name="Textplatzhalter 11-1">
            <a:extLst>
              <a:ext uri="{FF2B5EF4-FFF2-40B4-BE49-F238E27FC236}">
                <a16:creationId xmlns:a16="http://schemas.microsoft.com/office/drawing/2014/main" id="{66FDF788-F465-4728-A2B8-DE309210AE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391548" y="4149080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9" name="Textplatzhalter 10-2">
            <a:extLst>
              <a:ext uri="{FF2B5EF4-FFF2-40B4-BE49-F238E27FC236}">
                <a16:creationId xmlns:a16="http://schemas.microsoft.com/office/drawing/2014/main" id="{9C69753C-7600-4602-A752-9E0CBEA409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56438" y="3573016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8" name="Textplatzhalter 10-1">
            <a:extLst>
              <a:ext uri="{FF2B5EF4-FFF2-40B4-BE49-F238E27FC236}">
                <a16:creationId xmlns:a16="http://schemas.microsoft.com/office/drawing/2014/main" id="{9F6BFC16-D4E9-466C-9100-B6494C5594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7391250" y="3573016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7" name="Textplatzhalter 9-2">
            <a:extLst>
              <a:ext uri="{FF2B5EF4-FFF2-40B4-BE49-F238E27FC236}">
                <a16:creationId xmlns:a16="http://schemas.microsoft.com/office/drawing/2014/main" id="{4E2288CD-12CE-4199-95E7-96D5CFBD39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256140" y="2996952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6" name="Textplatzhalter 9-1">
            <a:extLst>
              <a:ext uri="{FF2B5EF4-FFF2-40B4-BE49-F238E27FC236}">
                <a16:creationId xmlns:a16="http://schemas.microsoft.com/office/drawing/2014/main" id="{FCA84184-F846-430D-8C9F-ADFD122CFB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390952" y="2996952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5" name="Textplatzhalter 8-2">
            <a:extLst>
              <a:ext uri="{FF2B5EF4-FFF2-40B4-BE49-F238E27FC236}">
                <a16:creationId xmlns:a16="http://schemas.microsoft.com/office/drawing/2014/main" id="{77FA3E7D-3171-4AB9-85D5-CE09DC41F14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255842" y="2420888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4" name="Textplatzhalter 8-1">
            <a:extLst>
              <a:ext uri="{FF2B5EF4-FFF2-40B4-BE49-F238E27FC236}">
                <a16:creationId xmlns:a16="http://schemas.microsoft.com/office/drawing/2014/main" id="{B3192306-FF8B-47C2-94AD-30375BC6728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390654" y="2420888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3" name="Textplatzhalter 7-2">
            <a:extLst>
              <a:ext uri="{FF2B5EF4-FFF2-40B4-BE49-F238E27FC236}">
                <a16:creationId xmlns:a16="http://schemas.microsoft.com/office/drawing/2014/main" id="{4BB2BC8A-9ECA-4A32-A3E8-06828820FE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255544" y="1844824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2" name="Textplatzhalter 7-1">
            <a:extLst>
              <a:ext uri="{FF2B5EF4-FFF2-40B4-BE49-F238E27FC236}">
                <a16:creationId xmlns:a16="http://schemas.microsoft.com/office/drawing/2014/main" id="{0AA808AA-B797-49EA-ADC5-8B8B4E470D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390356" y="1844824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5" name="Textplatzhalter 6-2">
            <a:extLst>
              <a:ext uri="{FF2B5EF4-FFF2-40B4-BE49-F238E27FC236}">
                <a16:creationId xmlns:a16="http://schemas.microsoft.com/office/drawing/2014/main" id="{E38BDFA7-AAFF-463C-8CC4-F43F69477E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794028" y="4724995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46" name="Textplatzhalter 6-1">
            <a:extLst>
              <a:ext uri="{FF2B5EF4-FFF2-40B4-BE49-F238E27FC236}">
                <a16:creationId xmlns:a16="http://schemas.microsoft.com/office/drawing/2014/main" id="{A15C7DE6-08D9-4C36-8BE4-B37893F65AC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928840" y="4724995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7" name="Textplatzhalter 5-2">
            <a:extLst>
              <a:ext uri="{FF2B5EF4-FFF2-40B4-BE49-F238E27FC236}">
                <a16:creationId xmlns:a16="http://schemas.microsoft.com/office/drawing/2014/main" id="{62EE8CCC-5C9E-4E5C-89D3-C8D6539F9A4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793730" y="4148931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48" name="Textplatzhalter 5-1">
            <a:extLst>
              <a:ext uri="{FF2B5EF4-FFF2-40B4-BE49-F238E27FC236}">
                <a16:creationId xmlns:a16="http://schemas.microsoft.com/office/drawing/2014/main" id="{40B57B4C-6FFF-4765-9097-275F805D09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928542" y="4148931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9" name="Textplatzhalter 4-2">
            <a:extLst>
              <a:ext uri="{FF2B5EF4-FFF2-40B4-BE49-F238E27FC236}">
                <a16:creationId xmlns:a16="http://schemas.microsoft.com/office/drawing/2014/main" id="{39AC0177-5C62-48CC-A18C-A88B49C375C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793432" y="3572867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50" name="Textplatzhalter 4-1">
            <a:extLst>
              <a:ext uri="{FF2B5EF4-FFF2-40B4-BE49-F238E27FC236}">
                <a16:creationId xmlns:a16="http://schemas.microsoft.com/office/drawing/2014/main" id="{A4C29D20-E01E-47FA-8EB4-A28CE633AA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928244" y="3572867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51" name="Textplatzhalter 3-2">
            <a:extLst>
              <a:ext uri="{FF2B5EF4-FFF2-40B4-BE49-F238E27FC236}">
                <a16:creationId xmlns:a16="http://schemas.microsoft.com/office/drawing/2014/main" id="{98295970-39EE-46A6-B03C-15974063450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793134" y="2996803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52" name="Textplatzhalter 3-1">
            <a:extLst>
              <a:ext uri="{FF2B5EF4-FFF2-40B4-BE49-F238E27FC236}">
                <a16:creationId xmlns:a16="http://schemas.microsoft.com/office/drawing/2014/main" id="{FDB16576-C331-435D-8057-3303B96EC1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927946" y="2996803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53" name="Textplatzhalter 2-2">
            <a:extLst>
              <a:ext uri="{FF2B5EF4-FFF2-40B4-BE49-F238E27FC236}">
                <a16:creationId xmlns:a16="http://schemas.microsoft.com/office/drawing/2014/main" id="{1F91984C-A3FA-44E6-9543-72F8E6F0A1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792836" y="2420739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54" name="Textplatzhalter 2-1">
            <a:extLst>
              <a:ext uri="{FF2B5EF4-FFF2-40B4-BE49-F238E27FC236}">
                <a16:creationId xmlns:a16="http://schemas.microsoft.com/office/drawing/2014/main" id="{26212861-3B5B-443D-9A82-56BB2A10DC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927648" y="2420739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55" name="Textplatzhalter 1-2">
            <a:extLst>
              <a:ext uri="{FF2B5EF4-FFF2-40B4-BE49-F238E27FC236}">
                <a16:creationId xmlns:a16="http://schemas.microsoft.com/office/drawing/2014/main" id="{5C01F47E-BB12-4EB0-AC3F-1F95D4C9A1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92538" y="1844675"/>
            <a:ext cx="3455590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56" name="Textplatzhalter 1-1">
            <a:extLst>
              <a:ext uri="{FF2B5EF4-FFF2-40B4-BE49-F238E27FC236}">
                <a16:creationId xmlns:a16="http://schemas.microsoft.com/office/drawing/2014/main" id="{2D4696FF-CF4B-40A8-B6C1-D978503B2C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927350" y="1844675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77F9035F-0329-4864-A7EC-154B9EF0AF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619200"/>
            <a:ext cx="11375380" cy="648000"/>
          </a:xfrm>
          <a:prstGeom prst="rect">
            <a:avLst/>
          </a:prstGeom>
          <a:ln w="3810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4431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 | mit Erklä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ahmen">
            <a:extLst>
              <a:ext uri="{FF2B5EF4-FFF2-40B4-BE49-F238E27FC236}">
                <a16:creationId xmlns:a16="http://schemas.microsoft.com/office/drawing/2014/main" id="{201BBC70-CC93-49DE-8B4A-A68FDA08467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2927350" y="1557338"/>
            <a:ext cx="9264650" cy="395922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10000 w 10098"/>
              <a:gd name="connsiteY0" fmla="*/ 10000 h 10231"/>
              <a:gd name="connsiteX1" fmla="*/ 0 w 10098"/>
              <a:gd name="connsiteY1" fmla="*/ 10000 h 10231"/>
              <a:gd name="connsiteX2" fmla="*/ 0 w 10098"/>
              <a:gd name="connsiteY2" fmla="*/ 0 h 10231"/>
              <a:gd name="connsiteX3" fmla="*/ 10000 w 10098"/>
              <a:gd name="connsiteY3" fmla="*/ 0 h 10231"/>
              <a:gd name="connsiteX4" fmla="*/ 10098 w 10098"/>
              <a:gd name="connsiteY4" fmla="*/ 10231 h 10231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10000" y="10000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4F0953-21C2-4C36-AF1D-145FEDCC4A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72BFBED-E1B7-4551-95F9-410C0321EEE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13AEACA-4F7C-4EE0-A217-1BCAB8F8B427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1FB6FB-07E7-47CB-9502-2CCE9C958E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59200"/>
            <a:ext cx="11376000" cy="288000"/>
          </a:xfrm>
          <a:ln>
            <a:solidFill>
              <a:schemeClr val="tx1">
                <a:alpha val="0"/>
              </a:schemeClr>
            </a:solidFill>
          </a:ln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Quel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  <a:ln>
            <a:solidFill>
              <a:schemeClr val="tx1">
                <a:alpha val="0"/>
              </a:schemeClr>
            </a:solidFill>
          </a:ln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3" name="Textplatzhalter 6-3">
            <a:extLst>
              <a:ext uri="{FF2B5EF4-FFF2-40B4-BE49-F238E27FC236}">
                <a16:creationId xmlns:a16="http://schemas.microsoft.com/office/drawing/2014/main" id="{DF8180CB-A633-49CA-A9EA-3138F53D4B3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257034" y="4653285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41" name="Textplatzhalter 6-2">
            <a:extLst>
              <a:ext uri="{FF2B5EF4-FFF2-40B4-BE49-F238E27FC236}">
                <a16:creationId xmlns:a16="http://schemas.microsoft.com/office/drawing/2014/main" id="{39BA176F-9E19-4649-8B01-AD8F7275EB6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256736" y="4149080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40" name="Textplatzhalter 6-1">
            <a:extLst>
              <a:ext uri="{FF2B5EF4-FFF2-40B4-BE49-F238E27FC236}">
                <a16:creationId xmlns:a16="http://schemas.microsoft.com/office/drawing/2014/main" id="{66FDF788-F465-4728-A2B8-DE309210AE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391548" y="4149080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9" name="Textplatzhalter 5-3">
            <a:extLst>
              <a:ext uri="{FF2B5EF4-FFF2-40B4-BE49-F238E27FC236}">
                <a16:creationId xmlns:a16="http://schemas.microsoft.com/office/drawing/2014/main" id="{9C69753C-7600-4602-A752-9E0CBEA409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56438" y="3501157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37" name="Textplatzhalter 5-2">
            <a:extLst>
              <a:ext uri="{FF2B5EF4-FFF2-40B4-BE49-F238E27FC236}">
                <a16:creationId xmlns:a16="http://schemas.microsoft.com/office/drawing/2014/main" id="{4E2288CD-12CE-4199-95E7-96D5CFBD39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256140" y="2996952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6" name="Textplatzhalter 5-1">
            <a:extLst>
              <a:ext uri="{FF2B5EF4-FFF2-40B4-BE49-F238E27FC236}">
                <a16:creationId xmlns:a16="http://schemas.microsoft.com/office/drawing/2014/main" id="{FCA84184-F846-430D-8C9F-ADFD122CFB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390952" y="2996952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5" name="Textplatzhalter 4-3">
            <a:extLst>
              <a:ext uri="{FF2B5EF4-FFF2-40B4-BE49-F238E27FC236}">
                <a16:creationId xmlns:a16="http://schemas.microsoft.com/office/drawing/2014/main" id="{77FA3E7D-3171-4AB9-85D5-CE09DC41F14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255842" y="2348944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33" name="Textplatzhalter 4-2">
            <a:extLst>
              <a:ext uri="{FF2B5EF4-FFF2-40B4-BE49-F238E27FC236}">
                <a16:creationId xmlns:a16="http://schemas.microsoft.com/office/drawing/2014/main" id="{4BB2BC8A-9ECA-4A32-A3E8-06828820FE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255544" y="1844824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32" name="Textplatzhalter 4-1">
            <a:extLst>
              <a:ext uri="{FF2B5EF4-FFF2-40B4-BE49-F238E27FC236}">
                <a16:creationId xmlns:a16="http://schemas.microsoft.com/office/drawing/2014/main" id="{0AA808AA-B797-49EA-ADC5-8B8B4E470D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390356" y="1844824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0" name="Textplatzhalter 3-3">
            <a:extLst>
              <a:ext uri="{FF2B5EF4-FFF2-40B4-BE49-F238E27FC236}">
                <a16:creationId xmlns:a16="http://schemas.microsoft.com/office/drawing/2014/main" id="{2D0D6B03-4434-4AD4-82AE-FB70A56EE06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794028" y="4653136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27" name="Textplatzhalter 3-2">
            <a:extLst>
              <a:ext uri="{FF2B5EF4-FFF2-40B4-BE49-F238E27FC236}">
                <a16:creationId xmlns:a16="http://schemas.microsoft.com/office/drawing/2014/main" id="{310B180A-2CF1-4BA4-B716-43776A52DF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793730" y="4148931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26" name="Textplatzhalter 3-1">
            <a:extLst>
              <a:ext uri="{FF2B5EF4-FFF2-40B4-BE49-F238E27FC236}">
                <a16:creationId xmlns:a16="http://schemas.microsoft.com/office/drawing/2014/main" id="{87B926A1-3010-4273-986D-F18843DE9B7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928542" y="4148931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4" name="Textplatzhalter 2-3">
            <a:extLst>
              <a:ext uri="{FF2B5EF4-FFF2-40B4-BE49-F238E27FC236}">
                <a16:creationId xmlns:a16="http://schemas.microsoft.com/office/drawing/2014/main" id="{5973A798-AD1A-4D2F-BAE1-C3543D5564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793432" y="3501008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21" name="Textplatzhalter 2-2">
            <a:extLst>
              <a:ext uri="{FF2B5EF4-FFF2-40B4-BE49-F238E27FC236}">
                <a16:creationId xmlns:a16="http://schemas.microsoft.com/office/drawing/2014/main" id="{7634D13B-E982-44AD-A393-1297474ECE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793134" y="2996803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20" name="Textplatzhalter 2-1">
            <a:extLst>
              <a:ext uri="{FF2B5EF4-FFF2-40B4-BE49-F238E27FC236}">
                <a16:creationId xmlns:a16="http://schemas.microsoft.com/office/drawing/2014/main" id="{83B3178D-38D3-47DA-B980-2CB2E44BAA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927946" y="2996803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Textplatzhalter 1-3">
            <a:extLst>
              <a:ext uri="{FF2B5EF4-FFF2-40B4-BE49-F238E27FC236}">
                <a16:creationId xmlns:a16="http://schemas.microsoft.com/office/drawing/2014/main" id="{12579212-2A2F-4378-AA53-BD90E3FA36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792836" y="2348795"/>
            <a:ext cx="3527598" cy="576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/>
            </a:lvl9pPr>
          </a:lstStyle>
          <a:p>
            <a:pPr lvl="0"/>
            <a:r>
              <a:rPr lang="de-DE" dirty="0"/>
              <a:t>Erläuterung in maximal zwei Zeilen</a:t>
            </a:r>
          </a:p>
        </p:txBody>
      </p:sp>
      <p:sp>
        <p:nvSpPr>
          <p:cNvPr id="12" name="Textplatzhalter 1-2">
            <a:extLst>
              <a:ext uri="{FF2B5EF4-FFF2-40B4-BE49-F238E27FC236}">
                <a16:creationId xmlns:a16="http://schemas.microsoft.com/office/drawing/2014/main" id="{923B74EA-7F16-4023-B418-B1C571BEF4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92538" y="1844675"/>
            <a:ext cx="3527598" cy="4318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/>
            </a:lvl9pPr>
          </a:lstStyle>
          <a:p>
            <a:pPr lvl="1"/>
            <a:r>
              <a:rPr lang="de-DE" sz="2000" dirty="0"/>
              <a:t>Name des Kapitels</a:t>
            </a:r>
          </a:p>
        </p:txBody>
      </p:sp>
      <p:sp>
        <p:nvSpPr>
          <p:cNvPr id="9" name="Textplatzhalter 1-1">
            <a:extLst>
              <a:ext uri="{FF2B5EF4-FFF2-40B4-BE49-F238E27FC236}">
                <a16:creationId xmlns:a16="http://schemas.microsoft.com/office/drawing/2014/main" id="{4CFBFBA3-97F7-4278-A1CA-8875A13613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927350" y="1844675"/>
            <a:ext cx="720725" cy="431800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r">
              <a:buFont typeface="Arial" panose="020B0604020202020204" pitchFamily="34" charset="0"/>
              <a:buNone/>
              <a:defRPr sz="2000" b="1">
                <a:latin typeface="+mj-lt"/>
              </a:defRPr>
            </a:lvl2pPr>
            <a:lvl3pPr marL="0" indent="0" algn="r">
              <a:buNone/>
              <a:defRPr sz="2000" b="1">
                <a:latin typeface="+mj-lt"/>
              </a:defRPr>
            </a:lvl3pPr>
            <a:lvl4pPr marL="0" indent="0" algn="r">
              <a:buNone/>
              <a:defRPr sz="2000" b="1">
                <a:latin typeface="+mj-lt"/>
              </a:defRPr>
            </a:lvl4pPr>
            <a:lvl5pPr marL="0" indent="0" algn="r">
              <a:buNone/>
              <a:defRPr sz="2000" b="1">
                <a:latin typeface="+mj-lt"/>
              </a:defRPr>
            </a:lvl5pPr>
            <a:lvl6pPr marL="0" indent="0" algn="r">
              <a:buNone/>
              <a:defRPr sz="2000" b="1">
                <a:latin typeface="+mj-lt"/>
              </a:defRPr>
            </a:lvl6pPr>
            <a:lvl7pPr marL="0" indent="0" algn="r">
              <a:buNone/>
              <a:defRPr sz="2000" b="1">
                <a:latin typeface="+mj-lt"/>
              </a:defRPr>
            </a:lvl7pPr>
            <a:lvl8pPr marL="0" indent="0" algn="r">
              <a:buNone/>
              <a:defRPr sz="2000" b="1">
                <a:latin typeface="+mj-lt"/>
              </a:defRPr>
            </a:lvl8pPr>
            <a:lvl9pPr marL="0" indent="0" algn="r">
              <a:buNone/>
              <a:defRPr sz="2000" b="1"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77F9035F-0329-4864-A7EC-154B9EF0AF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619200"/>
            <a:ext cx="11375380" cy="648000"/>
          </a:xfrm>
          <a:prstGeom prst="rect">
            <a:avLst/>
          </a:prstGeom>
          <a:ln w="3810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62929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>
            <a:extLst>
              <a:ext uri="{FF2B5EF4-FFF2-40B4-BE49-F238E27FC236}">
                <a16:creationId xmlns:a16="http://schemas.microsoft.com/office/drawing/2014/main" id="{CAC788C6-9F59-4D72-A7C1-8115978BBE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0" y="1845908"/>
            <a:ext cx="7824788" cy="2559877"/>
          </a:xfrm>
          <a:custGeom>
            <a:avLst/>
            <a:gdLst>
              <a:gd name="connsiteX0" fmla="*/ 0 w 7824788"/>
              <a:gd name="connsiteY0" fmla="*/ 0 h 3095263"/>
              <a:gd name="connsiteX1" fmla="*/ 7824788 w 7824788"/>
              <a:gd name="connsiteY1" fmla="*/ 0 h 3095263"/>
              <a:gd name="connsiteX2" fmla="*/ 7824788 w 7824788"/>
              <a:gd name="connsiteY2" fmla="*/ 3095263 h 3095263"/>
              <a:gd name="connsiteX3" fmla="*/ 0 w 7824788"/>
              <a:gd name="connsiteY3" fmla="*/ 3095263 h 3095263"/>
              <a:gd name="connsiteX0" fmla="*/ 0 w 7824788"/>
              <a:gd name="connsiteY0" fmla="*/ 0 h 3095263"/>
              <a:gd name="connsiteX1" fmla="*/ 7824788 w 7824788"/>
              <a:gd name="connsiteY1" fmla="*/ 0 h 3095263"/>
              <a:gd name="connsiteX2" fmla="*/ 7824788 w 7824788"/>
              <a:gd name="connsiteY2" fmla="*/ 3095263 h 3095263"/>
              <a:gd name="connsiteX3" fmla="*/ 0 w 7824788"/>
              <a:gd name="connsiteY3" fmla="*/ 3095263 h 3095263"/>
              <a:gd name="connsiteX4" fmla="*/ 91440 w 7824788"/>
              <a:gd name="connsiteY4" fmla="*/ 91440 h 3095263"/>
              <a:gd name="connsiteX0" fmla="*/ 0 w 7824788"/>
              <a:gd name="connsiteY0" fmla="*/ 0 h 3095263"/>
              <a:gd name="connsiteX1" fmla="*/ 7824788 w 7824788"/>
              <a:gd name="connsiteY1" fmla="*/ 0 h 3095263"/>
              <a:gd name="connsiteX2" fmla="*/ 7824788 w 7824788"/>
              <a:gd name="connsiteY2" fmla="*/ 3095263 h 3095263"/>
              <a:gd name="connsiteX3" fmla="*/ 0 w 7824788"/>
              <a:gd name="connsiteY3" fmla="*/ 3095263 h 30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4788" h="3095263">
                <a:moveTo>
                  <a:pt x="0" y="0"/>
                </a:moveTo>
                <a:lnTo>
                  <a:pt x="7824788" y="0"/>
                </a:lnTo>
                <a:lnTo>
                  <a:pt x="7824788" y="3095263"/>
                </a:lnTo>
                <a:lnTo>
                  <a:pt x="0" y="3095263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 wrap="square" lIns="576000" tIns="216000" rIns="216000" bIns="21600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3600" b="1" i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00</a:t>
            </a:r>
            <a:br>
              <a:rPr lang="de-DE" dirty="0"/>
            </a:br>
            <a:r>
              <a:rPr lang="de-DE" dirty="0"/>
              <a:t>Aktuelles Kapitel</a:t>
            </a:r>
            <a:br>
              <a:rPr lang="de-DE" dirty="0"/>
            </a:br>
            <a:r>
              <a:rPr lang="de-DE" dirty="0"/>
              <a:t>in 1–2 Zeil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F063B23-E6E8-4070-9647-3CDF5F6434D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0"/>
            <a:ext cx="58799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CDFD05A-0F4A-4EBE-BB53-22BBAA438A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1845909"/>
            <a:ext cx="5879976" cy="2559877"/>
          </a:xfrm>
          <a:custGeom>
            <a:avLst/>
            <a:gdLst>
              <a:gd name="connsiteX0" fmla="*/ 0 w 5879976"/>
              <a:gd name="connsiteY0" fmla="*/ 0 h 2559877"/>
              <a:gd name="connsiteX1" fmla="*/ 5879976 w 5879976"/>
              <a:gd name="connsiteY1" fmla="*/ 0 h 2559877"/>
              <a:gd name="connsiteX2" fmla="*/ 5879976 w 5879976"/>
              <a:gd name="connsiteY2" fmla="*/ 2559877 h 2559877"/>
              <a:gd name="connsiteX3" fmla="*/ 0 w 5879976"/>
              <a:gd name="connsiteY3" fmla="*/ 2559877 h 2559877"/>
              <a:gd name="connsiteX4" fmla="*/ 0 w 5879976"/>
              <a:gd name="connsiteY4" fmla="*/ 0 h 2559877"/>
              <a:gd name="connsiteX0" fmla="*/ 6474 w 5886450"/>
              <a:gd name="connsiteY0" fmla="*/ 0 h 2559877"/>
              <a:gd name="connsiteX1" fmla="*/ 5886450 w 5886450"/>
              <a:gd name="connsiteY1" fmla="*/ 0 h 2559877"/>
              <a:gd name="connsiteX2" fmla="*/ 5886450 w 5886450"/>
              <a:gd name="connsiteY2" fmla="*/ 2559877 h 2559877"/>
              <a:gd name="connsiteX3" fmla="*/ 6474 w 5886450"/>
              <a:gd name="connsiteY3" fmla="*/ 2559877 h 2559877"/>
              <a:gd name="connsiteX4" fmla="*/ 0 w 5886450"/>
              <a:gd name="connsiteY4" fmla="*/ 954441 h 2559877"/>
              <a:gd name="connsiteX5" fmla="*/ 6474 w 5886450"/>
              <a:gd name="connsiteY5" fmla="*/ 0 h 2559877"/>
              <a:gd name="connsiteX0" fmla="*/ 0 w 5886450"/>
              <a:gd name="connsiteY0" fmla="*/ 954441 h 2559877"/>
              <a:gd name="connsiteX1" fmla="*/ 6474 w 5886450"/>
              <a:gd name="connsiteY1" fmla="*/ 0 h 2559877"/>
              <a:gd name="connsiteX2" fmla="*/ 5886450 w 5886450"/>
              <a:gd name="connsiteY2" fmla="*/ 0 h 2559877"/>
              <a:gd name="connsiteX3" fmla="*/ 5886450 w 5886450"/>
              <a:gd name="connsiteY3" fmla="*/ 2559877 h 2559877"/>
              <a:gd name="connsiteX4" fmla="*/ 6474 w 5886450"/>
              <a:gd name="connsiteY4" fmla="*/ 2559877 h 2559877"/>
              <a:gd name="connsiteX5" fmla="*/ 91440 w 5886450"/>
              <a:gd name="connsiteY5" fmla="*/ 1045881 h 2559877"/>
              <a:gd name="connsiteX0" fmla="*/ 0 w 5886450"/>
              <a:gd name="connsiteY0" fmla="*/ 954441 h 2559877"/>
              <a:gd name="connsiteX1" fmla="*/ 6474 w 5886450"/>
              <a:gd name="connsiteY1" fmla="*/ 0 h 2559877"/>
              <a:gd name="connsiteX2" fmla="*/ 5886450 w 5886450"/>
              <a:gd name="connsiteY2" fmla="*/ 0 h 2559877"/>
              <a:gd name="connsiteX3" fmla="*/ 5886450 w 5886450"/>
              <a:gd name="connsiteY3" fmla="*/ 2559877 h 2559877"/>
              <a:gd name="connsiteX4" fmla="*/ 6474 w 5886450"/>
              <a:gd name="connsiteY4" fmla="*/ 2559877 h 2559877"/>
              <a:gd name="connsiteX0" fmla="*/ 0 w 5879976"/>
              <a:gd name="connsiteY0" fmla="*/ 0 h 2559877"/>
              <a:gd name="connsiteX1" fmla="*/ 5879976 w 5879976"/>
              <a:gd name="connsiteY1" fmla="*/ 0 h 2559877"/>
              <a:gd name="connsiteX2" fmla="*/ 5879976 w 5879976"/>
              <a:gd name="connsiteY2" fmla="*/ 2559877 h 2559877"/>
              <a:gd name="connsiteX3" fmla="*/ 0 w 5879976"/>
              <a:gd name="connsiteY3" fmla="*/ 2559877 h 255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79976" h="2559877">
                <a:moveTo>
                  <a:pt x="0" y="0"/>
                </a:moveTo>
                <a:lnTo>
                  <a:pt x="5879976" y="0"/>
                </a:lnTo>
                <a:lnTo>
                  <a:pt x="5879976" y="2559877"/>
                </a:lnTo>
                <a:lnTo>
                  <a:pt x="0" y="2559877"/>
                </a:lnTo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  <a:miter lim="800000"/>
          </a:ln>
        </p:spPr>
        <p:txBody>
          <a:bodyPr wrap="square" lIns="576000" tIns="216000" rIns="216000" bIns="21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360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/>
            </a:lvl9pPr>
          </a:lstStyle>
          <a:p>
            <a:pPr lvl="0"/>
            <a:r>
              <a:rPr lang="de-DE" dirty="0"/>
              <a:t>00</a:t>
            </a:r>
            <a:br>
              <a:rPr lang="de-DE" dirty="0"/>
            </a:br>
            <a:r>
              <a:rPr lang="de-DE" dirty="0"/>
              <a:t>Aktuelles Kapitel</a:t>
            </a:r>
            <a:br>
              <a:rPr lang="de-DE" dirty="0"/>
            </a:br>
            <a:r>
              <a:rPr lang="de-DE" dirty="0"/>
              <a:t>in 1–2 Zeil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204332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31C4141-AF01-4961-A030-0C8919B010E2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D0271B36-D9E0-4793-A81D-024E39B04E39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C8158F-8AD4-4FB7-9618-3B3B62C00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620E20-3C15-4A15-A316-C76E343E88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Quel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60680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B72A081-6005-47C8-816D-B1DB9C1330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620768"/>
            <a:ext cx="11376025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96A573-3406-4D78-B3DC-DFDCA0B65DD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F8E0C56-52D4-460D-98F5-9A488E497524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252E7D54-F4DE-40F4-8536-9A2075C6DFCB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A52DDC-7439-4233-8BBC-A29C5D798C7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5" name="Quelle">
            <a:extLst>
              <a:ext uri="{FF2B5EF4-FFF2-40B4-BE49-F238E27FC236}">
                <a16:creationId xmlns:a16="http://schemas.microsoft.com/office/drawing/2014/main" id="{12B9CD67-17C6-45A1-A724-6293D76FEA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381328"/>
            <a:ext cx="6336308" cy="216000"/>
          </a:xfrm>
        </p:spPr>
        <p:txBody>
          <a:bodyPr bIns="468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rgbClr val="5D6C73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rgbClr val="5D6C73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9FCCC67F-0E2B-4F5D-BACB-507547B29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260680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i="0" cap="all" baseline="0">
                <a:solidFill>
                  <a:srgbClr val="E3000F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apitelüberschrift (Optional)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2A4D40-ADDB-4558-8050-D1579B95FCC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9872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415" imgH="416" progId="TCLayout.ActiveDocument.1">
                  <p:embed/>
                </p:oleObj>
              </mc:Choice>
              <mc:Fallback>
                <p:oleObj name="think-cell Folie" r:id="rId2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620768"/>
            <a:ext cx="11376025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632504" y="6381328"/>
            <a:ext cx="720000" cy="216024"/>
          </a:xfrm>
          <a:prstGeom prst="rect">
            <a:avLst/>
          </a:prstGeom>
        </p:spPr>
        <p:txBody>
          <a:bodyPr vert="horz" wrap="none" lIns="0" tIns="46800" rIns="0" bIns="0" rtlCol="0" anchor="t">
            <a:noAutofit/>
          </a:bodyPr>
          <a:lstStyle>
            <a:lvl1pPr marL="0" algn="l">
              <a:defRPr sz="900">
                <a:solidFill>
                  <a:schemeClr val="accent1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06646F76-7A4D-4B78-A3BC-928398FFF380}" type="datetime1">
              <a:rPr lang="de-DE" smtClean="0"/>
              <a:t>18.08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52"/>
            <a:ext cx="360000" cy="216000"/>
          </a:xfrm>
          <a:prstGeom prst="rect">
            <a:avLst/>
          </a:prstGeom>
        </p:spPr>
        <p:txBody>
          <a:bodyPr vert="horz" lIns="0" tIns="46800" rIns="0" bIns="0" rtlCol="0" anchor="t"/>
          <a:lstStyle>
            <a:lvl1pPr marL="0" algn="r">
              <a:defRPr sz="900">
                <a:solidFill>
                  <a:schemeClr val="accent1"/>
                </a:solidFill>
              </a:defRPr>
            </a:lvl1pPr>
            <a:lvl2pPr marL="0">
              <a:defRPr sz="900"/>
            </a:lvl2pPr>
            <a:lvl3pPr marL="0">
              <a:defRPr sz="900"/>
            </a:lvl3pPr>
            <a:lvl4pPr marL="0">
              <a:defRPr sz="900"/>
            </a:lvl4pPr>
            <a:lvl5pPr marL="0">
              <a:defRPr sz="900"/>
            </a:lvl5pPr>
            <a:lvl6pPr marL="0">
              <a:defRPr sz="900"/>
            </a:lvl6pPr>
            <a:lvl7pPr marL="0">
              <a:defRPr sz="900"/>
            </a:lvl7pPr>
            <a:lvl8pPr marL="0">
              <a:defRPr sz="900"/>
            </a:lvl8pPr>
            <a:lvl9pPr marL="0">
              <a:defRPr sz="900"/>
            </a:lvl9pPr>
          </a:lstStyle>
          <a:p>
            <a:fld id="{443B15C8-972D-49F6-9B7C-5A2154A8C95F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28BC2D0-DB4B-493D-B494-1587AF9118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7368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3DDC106-3D96-492C-934E-5E56B69FA2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935760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DC58F67-1BD0-4280-B265-2A51CDE1985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7808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BAAC8661-90CE-4537-9100-7C5F573F93C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79976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3E55292-57DB-4CA8-9AC5-D138423FE4B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312024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7C332C-740E-4084-B28E-2D7E1E136C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192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0FB4CB5-57B5-4C7A-9E6C-F430DE61AC0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56240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6CF3DE2-72C5-4897-919E-99D960EC288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84632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6757901-4597-4461-A99C-BFB6F2F4A700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1520792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AD82119-9505-4BEC-8FBB-B5AE14FCE97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5985288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B4524A53-2233-4808-B2A7-61F3FD2AB84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27648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60C3BCFD-2B75-4729-ACE4-0FD1D0B73D1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96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67127EA-D96D-4F54-86CC-ADDFE9AB70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04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9FBA3C99-BDBA-4C27-8135-CD581ED47E3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264352" y="-210066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1F8FAF-2255-47C1-8841-75CB8582AF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816080" y="6381329"/>
            <a:ext cx="3744020" cy="2160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01" r:id="rId2"/>
    <p:sldLayoutId id="2147483668" r:id="rId3"/>
    <p:sldLayoutId id="2147483683" r:id="rId4"/>
    <p:sldLayoutId id="2147483704" r:id="rId5"/>
    <p:sldLayoutId id="2147483671" r:id="rId6"/>
    <p:sldLayoutId id="2147483698" r:id="rId7"/>
    <p:sldLayoutId id="2147483650" r:id="rId8"/>
    <p:sldLayoutId id="2147483666" r:id="rId9"/>
    <p:sldLayoutId id="2147483667" r:id="rId10"/>
    <p:sldLayoutId id="2147483673" r:id="rId11"/>
    <p:sldLayoutId id="2147483674" r:id="rId12"/>
    <p:sldLayoutId id="2147483654" r:id="rId13"/>
    <p:sldLayoutId id="2147483675" r:id="rId14"/>
    <p:sldLayoutId id="2147483676" r:id="rId15"/>
    <p:sldLayoutId id="2147483678" r:id="rId16"/>
    <p:sldLayoutId id="2147483679" r:id="rId17"/>
    <p:sldLayoutId id="2147483682" r:id="rId18"/>
    <p:sldLayoutId id="2147483680" r:id="rId19"/>
    <p:sldLayoutId id="2147483681" r:id="rId20"/>
    <p:sldLayoutId id="2147483703" r:id="rId21"/>
    <p:sldLayoutId id="2147483655" r:id="rId22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3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E3000F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5600" indent="-1778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3400" indent="-1778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3900" indent="-1905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23900" indent="-1905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23900" indent="-1905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23900" indent="-19050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oleObject" Target="../embeddings/oleObject2.bin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sv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8.sv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image" Target="../media/image4.emf"/><Relationship Id="rId30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oleObject" Target="../embeddings/oleObject3.bin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slideLayout" Target="../slideLayouts/slideLayout1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image" Target="../media/image6.sv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image" Target="../media/image5.png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image" Target="../media/image8.sv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image" Target="../media/image4.emf"/><Relationship Id="rId30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hteck 15">
            <a:extLst>
              <a:ext uri="{FF2B5EF4-FFF2-40B4-BE49-F238E27FC236}">
                <a16:creationId xmlns:a16="http://schemas.microsoft.com/office/drawing/2014/main" id="{251D21EF-56D1-A797-2417-6A5F73BE7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7504722" y="0"/>
            <a:ext cx="4687278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79E8452-EB6F-55B4-3307-2463778FD60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7231251" y="2674478"/>
            <a:ext cx="4519377" cy="1960103"/>
            <a:chOff x="8091950" y="3322595"/>
            <a:chExt cx="2516814" cy="215838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1BF48F95-BEBC-6063-2C38-C4B369659E3B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 flipH="1">
              <a:off x="8091950" y="3448780"/>
              <a:ext cx="2483528" cy="2032203"/>
            </a:xfrm>
            <a:custGeom>
              <a:avLst/>
              <a:gdLst>
                <a:gd name="connsiteX0" fmla="*/ 2396694 w 2483528"/>
                <a:gd name="connsiteY0" fmla="*/ 0 h 2032203"/>
                <a:gd name="connsiteX1" fmla="*/ 1797440 w 2483528"/>
                <a:gd name="connsiteY1" fmla="*/ 0 h 2032203"/>
                <a:gd name="connsiteX2" fmla="*/ 1675335 w 2483528"/>
                <a:gd name="connsiteY2" fmla="*/ 0 h 2032203"/>
                <a:gd name="connsiteX3" fmla="*/ 1407447 w 2483528"/>
                <a:gd name="connsiteY3" fmla="*/ 0 h 2032203"/>
                <a:gd name="connsiteX4" fmla="*/ 1076081 w 2483528"/>
                <a:gd name="connsiteY4" fmla="*/ 0 h 2032203"/>
                <a:gd name="connsiteX5" fmla="*/ 808193 w 2483528"/>
                <a:gd name="connsiteY5" fmla="*/ 0 h 2032203"/>
                <a:gd name="connsiteX6" fmla="*/ 686088 w 2483528"/>
                <a:gd name="connsiteY6" fmla="*/ 0 h 2032203"/>
                <a:gd name="connsiteX7" fmla="*/ 86834 w 2483528"/>
                <a:gd name="connsiteY7" fmla="*/ 0 h 2032203"/>
                <a:gd name="connsiteX8" fmla="*/ 0 w 2483528"/>
                <a:gd name="connsiteY8" fmla="*/ 86834 h 2032203"/>
                <a:gd name="connsiteX9" fmla="*/ 0 w 2483528"/>
                <a:gd name="connsiteY9" fmla="*/ 408138 h 2032203"/>
                <a:gd name="connsiteX10" fmla="*/ 0 w 2483528"/>
                <a:gd name="connsiteY10" fmla="*/ 413963 h 2032203"/>
                <a:gd name="connsiteX11" fmla="*/ 0 w 2483528"/>
                <a:gd name="connsiteY11" fmla="*/ 434164 h 2032203"/>
                <a:gd name="connsiteX12" fmla="*/ 0 w 2483528"/>
                <a:gd name="connsiteY12" fmla="*/ 520998 h 2032203"/>
                <a:gd name="connsiteX13" fmla="*/ 0 w 2483528"/>
                <a:gd name="connsiteY13" fmla="*/ 617359 h 2032203"/>
                <a:gd name="connsiteX14" fmla="*/ 0 w 2483528"/>
                <a:gd name="connsiteY14" fmla="*/ 735267 h 2032203"/>
                <a:gd name="connsiteX15" fmla="*/ 0 w 2483528"/>
                <a:gd name="connsiteY15" fmla="*/ 740385 h 2032203"/>
                <a:gd name="connsiteX16" fmla="*/ 0 w 2483528"/>
                <a:gd name="connsiteY16" fmla="*/ 761293 h 2032203"/>
                <a:gd name="connsiteX17" fmla="*/ 0 w 2483528"/>
                <a:gd name="connsiteY17" fmla="*/ 848127 h 2032203"/>
                <a:gd name="connsiteX18" fmla="*/ 0 w 2483528"/>
                <a:gd name="connsiteY18" fmla="*/ 938663 h 2032203"/>
                <a:gd name="connsiteX19" fmla="*/ 0 w 2483528"/>
                <a:gd name="connsiteY19" fmla="*/ 944488 h 2032203"/>
                <a:gd name="connsiteX20" fmla="*/ 0 w 2483528"/>
                <a:gd name="connsiteY20" fmla="*/ 964689 h 2032203"/>
                <a:gd name="connsiteX21" fmla="*/ 0 w 2483528"/>
                <a:gd name="connsiteY21" fmla="*/ 1051523 h 2032203"/>
                <a:gd name="connsiteX22" fmla="*/ 0 w 2483528"/>
                <a:gd name="connsiteY22" fmla="*/ 1061689 h 2032203"/>
                <a:gd name="connsiteX23" fmla="*/ 0 w 2483528"/>
                <a:gd name="connsiteY23" fmla="*/ 1067514 h 2032203"/>
                <a:gd name="connsiteX24" fmla="*/ 0 w 2483528"/>
                <a:gd name="connsiteY24" fmla="*/ 1087715 h 2032203"/>
                <a:gd name="connsiteX25" fmla="*/ 0 w 2483528"/>
                <a:gd name="connsiteY25" fmla="*/ 1174549 h 2032203"/>
                <a:gd name="connsiteX26" fmla="*/ 0 w 2483528"/>
                <a:gd name="connsiteY26" fmla="*/ 1265792 h 2032203"/>
                <a:gd name="connsiteX27" fmla="*/ 0 w 2483528"/>
                <a:gd name="connsiteY27" fmla="*/ 1270910 h 2032203"/>
                <a:gd name="connsiteX28" fmla="*/ 0 w 2483528"/>
                <a:gd name="connsiteY28" fmla="*/ 1291818 h 2032203"/>
                <a:gd name="connsiteX29" fmla="*/ 0 w 2483528"/>
                <a:gd name="connsiteY29" fmla="*/ 1378652 h 2032203"/>
                <a:gd name="connsiteX30" fmla="*/ 0 w 2483528"/>
                <a:gd name="connsiteY30" fmla="*/ 1388818 h 2032203"/>
                <a:gd name="connsiteX31" fmla="*/ 0 w 2483528"/>
                <a:gd name="connsiteY31" fmla="*/ 1414844 h 2032203"/>
                <a:gd name="connsiteX32" fmla="*/ 0 w 2483528"/>
                <a:gd name="connsiteY32" fmla="*/ 1501678 h 2032203"/>
                <a:gd name="connsiteX33" fmla="*/ 0 w 2483528"/>
                <a:gd name="connsiteY33" fmla="*/ 1592214 h 2032203"/>
                <a:gd name="connsiteX34" fmla="*/ 0 w 2483528"/>
                <a:gd name="connsiteY34" fmla="*/ 1598039 h 2032203"/>
                <a:gd name="connsiteX35" fmla="*/ 0 w 2483528"/>
                <a:gd name="connsiteY35" fmla="*/ 1618240 h 2032203"/>
                <a:gd name="connsiteX36" fmla="*/ 0 w 2483528"/>
                <a:gd name="connsiteY36" fmla="*/ 1705074 h 2032203"/>
                <a:gd name="connsiteX37" fmla="*/ 0 w 2483528"/>
                <a:gd name="connsiteY37" fmla="*/ 1919343 h 2032203"/>
                <a:gd name="connsiteX38" fmla="*/ 0 w 2483528"/>
                <a:gd name="connsiteY38" fmla="*/ 1945369 h 2032203"/>
                <a:gd name="connsiteX39" fmla="*/ 0 w 2483528"/>
                <a:gd name="connsiteY39" fmla="*/ 2032203 h 2032203"/>
                <a:gd name="connsiteX40" fmla="*/ 86834 w 2483528"/>
                <a:gd name="connsiteY40" fmla="*/ 2032203 h 2032203"/>
                <a:gd name="connsiteX41" fmla="*/ 403131 w 2483528"/>
                <a:gd name="connsiteY41" fmla="*/ 2032203 h 2032203"/>
                <a:gd name="connsiteX42" fmla="*/ 599254 w 2483528"/>
                <a:gd name="connsiteY42" fmla="*/ 2032203 h 2032203"/>
                <a:gd name="connsiteX43" fmla="*/ 686088 w 2483528"/>
                <a:gd name="connsiteY43" fmla="*/ 2032203 h 2032203"/>
                <a:gd name="connsiteX44" fmla="*/ 721359 w 2483528"/>
                <a:gd name="connsiteY44" fmla="*/ 2032203 h 2032203"/>
                <a:gd name="connsiteX45" fmla="*/ 808193 w 2483528"/>
                <a:gd name="connsiteY45" fmla="*/ 2032203 h 2032203"/>
                <a:gd name="connsiteX46" fmla="*/ 1002385 w 2483528"/>
                <a:gd name="connsiteY46" fmla="*/ 2032203 h 2032203"/>
                <a:gd name="connsiteX47" fmla="*/ 1076081 w 2483528"/>
                <a:gd name="connsiteY47" fmla="*/ 2032203 h 2032203"/>
                <a:gd name="connsiteX48" fmla="*/ 1124490 w 2483528"/>
                <a:gd name="connsiteY48" fmla="*/ 2032203 h 2032203"/>
                <a:gd name="connsiteX49" fmla="*/ 1320613 w 2483528"/>
                <a:gd name="connsiteY49" fmla="*/ 2032203 h 2032203"/>
                <a:gd name="connsiteX50" fmla="*/ 1407447 w 2483528"/>
                <a:gd name="connsiteY50" fmla="*/ 2032203 h 2032203"/>
                <a:gd name="connsiteX51" fmla="*/ 1675335 w 2483528"/>
                <a:gd name="connsiteY51" fmla="*/ 2032203 h 2032203"/>
                <a:gd name="connsiteX52" fmla="*/ 1723744 w 2483528"/>
                <a:gd name="connsiteY52" fmla="*/ 2032203 h 2032203"/>
                <a:gd name="connsiteX53" fmla="*/ 1797440 w 2483528"/>
                <a:gd name="connsiteY53" fmla="*/ 2032203 h 2032203"/>
                <a:gd name="connsiteX54" fmla="*/ 2396694 w 2483528"/>
                <a:gd name="connsiteY54" fmla="*/ 2032203 h 2032203"/>
                <a:gd name="connsiteX55" fmla="*/ 2483528 w 2483528"/>
                <a:gd name="connsiteY55" fmla="*/ 1945369 h 2032203"/>
                <a:gd name="connsiteX56" fmla="*/ 2483528 w 2483528"/>
                <a:gd name="connsiteY56" fmla="*/ 1618240 h 2032203"/>
                <a:gd name="connsiteX57" fmla="*/ 2483528 w 2483528"/>
                <a:gd name="connsiteY57" fmla="*/ 1598039 h 2032203"/>
                <a:gd name="connsiteX58" fmla="*/ 2483528 w 2483528"/>
                <a:gd name="connsiteY58" fmla="*/ 1414844 h 2032203"/>
                <a:gd name="connsiteX59" fmla="*/ 2483528 w 2483528"/>
                <a:gd name="connsiteY59" fmla="*/ 1291818 h 2032203"/>
                <a:gd name="connsiteX60" fmla="*/ 2483528 w 2483528"/>
                <a:gd name="connsiteY60" fmla="*/ 1270910 h 2032203"/>
                <a:gd name="connsiteX61" fmla="*/ 2483528 w 2483528"/>
                <a:gd name="connsiteY61" fmla="*/ 1087715 h 2032203"/>
                <a:gd name="connsiteX62" fmla="*/ 2483528 w 2483528"/>
                <a:gd name="connsiteY62" fmla="*/ 1067514 h 2032203"/>
                <a:gd name="connsiteX63" fmla="*/ 2483528 w 2483528"/>
                <a:gd name="connsiteY63" fmla="*/ 964689 h 2032203"/>
                <a:gd name="connsiteX64" fmla="*/ 2483528 w 2483528"/>
                <a:gd name="connsiteY64" fmla="*/ 944488 h 2032203"/>
                <a:gd name="connsiteX65" fmla="*/ 2483528 w 2483528"/>
                <a:gd name="connsiteY65" fmla="*/ 761293 h 2032203"/>
                <a:gd name="connsiteX66" fmla="*/ 2483528 w 2483528"/>
                <a:gd name="connsiteY66" fmla="*/ 740385 h 2032203"/>
                <a:gd name="connsiteX67" fmla="*/ 2483528 w 2483528"/>
                <a:gd name="connsiteY67" fmla="*/ 617359 h 2032203"/>
                <a:gd name="connsiteX68" fmla="*/ 2483528 w 2483528"/>
                <a:gd name="connsiteY68" fmla="*/ 434164 h 2032203"/>
                <a:gd name="connsiteX69" fmla="*/ 2483528 w 2483528"/>
                <a:gd name="connsiteY69" fmla="*/ 413963 h 2032203"/>
                <a:gd name="connsiteX70" fmla="*/ 2483528 w 2483528"/>
                <a:gd name="connsiteY70" fmla="*/ 86834 h 2032203"/>
                <a:gd name="connsiteX71" fmla="*/ 2396694 w 2483528"/>
                <a:gd name="connsiteY71" fmla="*/ 0 h 203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483528" h="2032203">
                  <a:moveTo>
                    <a:pt x="2396694" y="0"/>
                  </a:moveTo>
                  <a:lnTo>
                    <a:pt x="1797440" y="0"/>
                  </a:lnTo>
                  <a:lnTo>
                    <a:pt x="1675335" y="0"/>
                  </a:lnTo>
                  <a:lnTo>
                    <a:pt x="1407447" y="0"/>
                  </a:lnTo>
                  <a:lnTo>
                    <a:pt x="1076081" y="0"/>
                  </a:lnTo>
                  <a:lnTo>
                    <a:pt x="808193" y="0"/>
                  </a:lnTo>
                  <a:lnTo>
                    <a:pt x="686088" y="0"/>
                  </a:lnTo>
                  <a:lnTo>
                    <a:pt x="86834" y="0"/>
                  </a:lnTo>
                  <a:cubicBezTo>
                    <a:pt x="38877" y="0"/>
                    <a:pt x="0" y="38877"/>
                    <a:pt x="0" y="86834"/>
                  </a:cubicBezTo>
                  <a:lnTo>
                    <a:pt x="0" y="408138"/>
                  </a:lnTo>
                  <a:lnTo>
                    <a:pt x="0" y="413963"/>
                  </a:lnTo>
                  <a:lnTo>
                    <a:pt x="0" y="434164"/>
                  </a:lnTo>
                  <a:lnTo>
                    <a:pt x="0" y="520998"/>
                  </a:lnTo>
                  <a:lnTo>
                    <a:pt x="0" y="617359"/>
                  </a:lnTo>
                  <a:lnTo>
                    <a:pt x="0" y="735267"/>
                  </a:lnTo>
                  <a:lnTo>
                    <a:pt x="0" y="740385"/>
                  </a:lnTo>
                  <a:lnTo>
                    <a:pt x="0" y="761293"/>
                  </a:lnTo>
                  <a:lnTo>
                    <a:pt x="0" y="848127"/>
                  </a:lnTo>
                  <a:lnTo>
                    <a:pt x="0" y="938663"/>
                  </a:lnTo>
                  <a:lnTo>
                    <a:pt x="0" y="944488"/>
                  </a:lnTo>
                  <a:lnTo>
                    <a:pt x="0" y="964689"/>
                  </a:lnTo>
                  <a:lnTo>
                    <a:pt x="0" y="1051523"/>
                  </a:lnTo>
                  <a:lnTo>
                    <a:pt x="0" y="1061689"/>
                  </a:lnTo>
                  <a:lnTo>
                    <a:pt x="0" y="1067514"/>
                  </a:lnTo>
                  <a:lnTo>
                    <a:pt x="0" y="1087715"/>
                  </a:lnTo>
                  <a:lnTo>
                    <a:pt x="0" y="1174549"/>
                  </a:lnTo>
                  <a:lnTo>
                    <a:pt x="0" y="1265792"/>
                  </a:lnTo>
                  <a:lnTo>
                    <a:pt x="0" y="1270910"/>
                  </a:lnTo>
                  <a:lnTo>
                    <a:pt x="0" y="1291818"/>
                  </a:lnTo>
                  <a:lnTo>
                    <a:pt x="0" y="1378652"/>
                  </a:lnTo>
                  <a:lnTo>
                    <a:pt x="0" y="1388818"/>
                  </a:lnTo>
                  <a:lnTo>
                    <a:pt x="0" y="1414844"/>
                  </a:lnTo>
                  <a:lnTo>
                    <a:pt x="0" y="1501678"/>
                  </a:lnTo>
                  <a:lnTo>
                    <a:pt x="0" y="1592214"/>
                  </a:lnTo>
                  <a:lnTo>
                    <a:pt x="0" y="1598039"/>
                  </a:lnTo>
                  <a:lnTo>
                    <a:pt x="0" y="1618240"/>
                  </a:lnTo>
                  <a:lnTo>
                    <a:pt x="0" y="1705074"/>
                  </a:lnTo>
                  <a:lnTo>
                    <a:pt x="0" y="1919343"/>
                  </a:lnTo>
                  <a:lnTo>
                    <a:pt x="0" y="1945369"/>
                  </a:lnTo>
                  <a:lnTo>
                    <a:pt x="0" y="2032203"/>
                  </a:lnTo>
                  <a:lnTo>
                    <a:pt x="86834" y="2032203"/>
                  </a:lnTo>
                  <a:lnTo>
                    <a:pt x="403131" y="2032203"/>
                  </a:lnTo>
                  <a:lnTo>
                    <a:pt x="599254" y="2032203"/>
                  </a:lnTo>
                  <a:lnTo>
                    <a:pt x="686088" y="2032203"/>
                  </a:lnTo>
                  <a:lnTo>
                    <a:pt x="721359" y="2032203"/>
                  </a:lnTo>
                  <a:lnTo>
                    <a:pt x="808193" y="2032203"/>
                  </a:lnTo>
                  <a:lnTo>
                    <a:pt x="1002385" y="2032203"/>
                  </a:lnTo>
                  <a:lnTo>
                    <a:pt x="1076081" y="2032203"/>
                  </a:lnTo>
                  <a:lnTo>
                    <a:pt x="1124490" y="2032203"/>
                  </a:lnTo>
                  <a:lnTo>
                    <a:pt x="1320613" y="2032203"/>
                  </a:lnTo>
                  <a:lnTo>
                    <a:pt x="1407447" y="2032203"/>
                  </a:lnTo>
                  <a:lnTo>
                    <a:pt x="1675335" y="2032203"/>
                  </a:lnTo>
                  <a:lnTo>
                    <a:pt x="1723744" y="2032203"/>
                  </a:lnTo>
                  <a:lnTo>
                    <a:pt x="1797440" y="2032203"/>
                  </a:lnTo>
                  <a:lnTo>
                    <a:pt x="2396694" y="2032203"/>
                  </a:lnTo>
                  <a:cubicBezTo>
                    <a:pt x="2444651" y="2032203"/>
                    <a:pt x="2483528" y="1993326"/>
                    <a:pt x="2483528" y="1945369"/>
                  </a:cubicBezTo>
                  <a:lnTo>
                    <a:pt x="2483528" y="1618240"/>
                  </a:lnTo>
                  <a:lnTo>
                    <a:pt x="2483528" y="1598039"/>
                  </a:lnTo>
                  <a:lnTo>
                    <a:pt x="2483528" y="1414844"/>
                  </a:lnTo>
                  <a:lnTo>
                    <a:pt x="2483528" y="1291818"/>
                  </a:lnTo>
                  <a:lnTo>
                    <a:pt x="2483528" y="1270910"/>
                  </a:lnTo>
                  <a:lnTo>
                    <a:pt x="2483528" y="1087715"/>
                  </a:lnTo>
                  <a:lnTo>
                    <a:pt x="2483528" y="1067514"/>
                  </a:lnTo>
                  <a:lnTo>
                    <a:pt x="2483528" y="964689"/>
                  </a:lnTo>
                  <a:lnTo>
                    <a:pt x="2483528" y="944488"/>
                  </a:lnTo>
                  <a:lnTo>
                    <a:pt x="2483528" y="761293"/>
                  </a:lnTo>
                  <a:lnTo>
                    <a:pt x="2483528" y="740385"/>
                  </a:lnTo>
                  <a:lnTo>
                    <a:pt x="2483528" y="617359"/>
                  </a:lnTo>
                  <a:lnTo>
                    <a:pt x="2483528" y="434164"/>
                  </a:lnTo>
                  <a:lnTo>
                    <a:pt x="2483528" y="413963"/>
                  </a:lnTo>
                  <a:lnTo>
                    <a:pt x="2483528" y="86834"/>
                  </a:lnTo>
                  <a:cubicBezTo>
                    <a:pt x="2483528" y="38877"/>
                    <a:pt x="2444651" y="0"/>
                    <a:pt x="2396694" y="0"/>
                  </a:cubicBezTo>
                  <a:close/>
                </a:path>
              </a:pathLst>
            </a:cu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de-DE" sz="1200" b="1">
                <a:solidFill>
                  <a:schemeClr val="bg1"/>
                </a:solidFill>
              </a:endParaRPr>
            </a:p>
          </p:txBody>
        </p:sp>
        <p:sp>
          <p:nvSpPr>
            <p:cNvPr id="84" name="Rechteck 21">
              <a:extLst>
                <a:ext uri="{FF2B5EF4-FFF2-40B4-BE49-F238E27FC236}">
                  <a16:creationId xmlns:a16="http://schemas.microsoft.com/office/drawing/2014/main" id="{6253221C-3EB7-ADAE-0DA3-99445E058239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8195783" y="3865551"/>
              <a:ext cx="2233411" cy="1429949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5750" indent="-285750">
                <a:lnSpc>
                  <a:spcPct val="8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endParaRPr lang="de-DE" sz="1400" b="1">
                <a:solidFill>
                  <a:schemeClr val="bg1"/>
                </a:solidFill>
              </a:endParaRPr>
            </a:p>
          </p:txBody>
        </p:sp>
        <p:sp>
          <p:nvSpPr>
            <p:cNvPr id="85" name="Textfeld 5">
              <a:extLst>
                <a:ext uri="{FF2B5EF4-FFF2-40B4-BE49-F238E27FC236}">
                  <a16:creationId xmlns:a16="http://schemas.microsoft.com/office/drawing/2014/main" id="{15C1EB9A-07AB-D2F5-CF05-48089A8C9CD1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0376568" y="3322595"/>
              <a:ext cx="232196" cy="9745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</a:pPr>
              <a:r>
                <a:rPr lang="de-DE" sz="7200" b="1">
                  <a:solidFill>
                    <a:schemeClr val="accent6"/>
                  </a:solidFill>
                </a:rPr>
                <a:t>!</a:t>
              </a:r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08961F8-B9BC-42E0-A6D1-9308EBF354E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532" imgH="530" progId="TCLayout.ActiveDocument.1">
                  <p:embed/>
                </p:oleObj>
              </mc:Choice>
              <mc:Fallback>
                <p:oleObj name="think-cell Folie" r:id="rId26" imgW="532" imgH="53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08961F8-B9BC-42E0-A6D1-9308EBF35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C53E47F-1D9E-D1D4-6633-573CCFA003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594F461-6DFD-D0EE-4A37-68E44B08DF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1E1736E-6BD7-CB0B-1D22-EBA8E09114D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de-DE" dirty="0"/>
              <a:t>Exkurs: Prüfinstitut – Verkehrsfähigkeitsprüfung</a:t>
            </a:r>
          </a:p>
        </p:txBody>
      </p:sp>
      <p:sp>
        <p:nvSpPr>
          <p:cNvPr id="19" name="Rechteck 66">
            <a:extLst>
              <a:ext uri="{FF2B5EF4-FFF2-40B4-BE49-F238E27FC236}">
                <a16:creationId xmlns:a16="http://schemas.microsoft.com/office/drawing/2014/main" id="{DBDB5D56-E9FF-9C30-EEF9-22185C645F3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07516" y="1165423"/>
            <a:ext cx="6471642" cy="4724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Bei internationalen Artikeln ist zwingend eine Prüfung durch ein Prüfinstitut erforderlich. (Einmalige Prüfung im ersten Korrekturlauf ist ausreichend, anschließend können Sie die korrekte Umsetzung der Änderungen selber sicherstellen)</a:t>
            </a:r>
          </a:p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Um möglichst wenig Korrekturschleifen zu erzeugen, findet die Prüfung durch Sie und ihr Prüfinstitut bereits mit dem Erstaufbau des Layouts statt.</a:t>
            </a:r>
          </a:p>
          <a:p>
            <a:pPr defTabSz="269875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</a:pPr>
            <a:r>
              <a:rPr lang="de-DE" sz="1400" dirty="0">
                <a:solidFill>
                  <a:schemeClr val="tx1"/>
                </a:solidFill>
              </a:rPr>
              <a:t>	Bitte bündeln Sie schon im ersten Korrekturschritt die Korrekturen des 	Prüfinstitutes und ihre Korrekturen und geben diese gesammelt an Kaufland 	weiter</a:t>
            </a:r>
          </a:p>
          <a:p>
            <a:pPr defTabSz="269875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</a:pPr>
            <a:r>
              <a:rPr lang="de-DE" sz="1400" dirty="0">
                <a:solidFill>
                  <a:schemeClr val="tx1"/>
                </a:solidFill>
              </a:rPr>
              <a:t>	</a:t>
            </a:r>
            <a:r>
              <a:rPr lang="de-DE" sz="1400" b="1" dirty="0">
                <a:solidFill>
                  <a:schemeClr val="tx1"/>
                </a:solidFill>
              </a:rPr>
              <a:t>Es findet keine Korrekturrunde vor der Zusendung ans Prüfinstitut statt!</a:t>
            </a:r>
          </a:p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ie prüfen den Prüfbericht des Prüfinstitutes und geben nur die von Ihnen gewünschten Korrekturen an Kaufland weiter. Das machen Sie, indem Sie die Korrekturen in den </a:t>
            </a:r>
            <a:r>
              <a:rPr lang="de-DE" sz="1400" dirty="0" err="1">
                <a:solidFill>
                  <a:schemeClr val="tx1"/>
                </a:solidFill>
              </a:rPr>
              <a:t>Dalim</a:t>
            </a:r>
            <a:r>
              <a:rPr lang="de-DE" sz="1400" dirty="0">
                <a:solidFill>
                  <a:schemeClr val="tx1"/>
                </a:solidFill>
              </a:rPr>
              <a:t> Viewer in Wave übertragen. Zusätzlich tragen Sie auch ihre eigenen Korrekturen in den </a:t>
            </a:r>
            <a:r>
              <a:rPr lang="de-DE" sz="1400" dirty="0" err="1">
                <a:solidFill>
                  <a:schemeClr val="tx1"/>
                </a:solidFill>
              </a:rPr>
              <a:t>Dalim</a:t>
            </a:r>
            <a:r>
              <a:rPr lang="de-DE" sz="1400" dirty="0">
                <a:solidFill>
                  <a:schemeClr val="tx1"/>
                </a:solidFill>
              </a:rPr>
              <a:t> Viewer in Wave ein.</a:t>
            </a:r>
          </a:p>
          <a:p>
            <a:pPr marL="285750" indent="-285750">
              <a:lnSpc>
                <a:spcPct val="85000"/>
              </a:lnSpc>
              <a:spcBef>
                <a:spcPts val="12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Im APL (</a:t>
            </a:r>
            <a:r>
              <a:rPr lang="de-DE" sz="1400" dirty="0" err="1">
                <a:solidFill>
                  <a:schemeClr val="tx1"/>
                </a:solidFill>
              </a:rPr>
              <a:t>Approval</a:t>
            </a:r>
            <a:r>
              <a:rPr lang="de-DE" sz="1400" dirty="0">
                <a:solidFill>
                  <a:schemeClr val="tx1"/>
                </a:solidFill>
              </a:rPr>
              <a:t> Loop) in Wave haben Sie 3 Möglichkeiten die Prüfung zu bestätigen: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33CC33"/>
                </a:solidFill>
              </a:rPr>
              <a:t>grün:</a:t>
            </a:r>
            <a:r>
              <a:rPr lang="de-DE" sz="1400" dirty="0">
                <a:solidFill>
                  <a:schemeClr val="tx1"/>
                </a:solidFill>
              </a:rPr>
              <a:t> keine Korrekturen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F99D1C"/>
                </a:solidFill>
              </a:rPr>
              <a:t>orange:</a:t>
            </a:r>
            <a:r>
              <a:rPr lang="de-DE" sz="1400" dirty="0">
                <a:solidFill>
                  <a:schemeClr val="tx1"/>
                </a:solidFill>
              </a:rPr>
              <a:t> kleine Korrekturen, die laut Prüfbericht noch umgesetzt werden müssen, damit die ausgestellte Verkehrsfähigkeit greift (keine erneute Prüfung durch das Prüfinstitut notwendig)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chemeClr val="accent4"/>
                </a:solidFill>
              </a:rPr>
              <a:t>rot:</a:t>
            </a:r>
            <a:r>
              <a:rPr lang="de-DE" sz="1400" dirty="0">
                <a:solidFill>
                  <a:schemeClr val="tx1"/>
                </a:solidFill>
              </a:rPr>
              <a:t> große Korrekturen, der Artikel ist laut Prüfbericht „nicht verkehrsfähig“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2481473-E32C-6A76-8DAA-E7AC6E28E63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 flipH="1">
            <a:off x="10655243" y="4358421"/>
            <a:ext cx="1222910" cy="2235094"/>
            <a:chOff x="3968750" y="1707750"/>
            <a:chExt cx="950040" cy="1736373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773630AD-B611-0DAB-64D1-74F859E942D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356930" y="3231335"/>
              <a:ext cx="367470" cy="212788"/>
            </a:xfrm>
            <a:custGeom>
              <a:avLst/>
              <a:gdLst>
                <a:gd name="connsiteX0" fmla="*/ 496796 w 578799"/>
                <a:gd name="connsiteY0" fmla="*/ 51129 h 335162"/>
                <a:gd name="connsiteX1" fmla="*/ 87725 w 578799"/>
                <a:gd name="connsiteY1" fmla="*/ 47077 h 335162"/>
                <a:gd name="connsiteX2" fmla="*/ 82004 w 578799"/>
                <a:gd name="connsiteY2" fmla="*/ 284033 h 335162"/>
                <a:gd name="connsiteX3" fmla="*/ 491075 w 578799"/>
                <a:gd name="connsiteY3" fmla="*/ 288085 h 335162"/>
                <a:gd name="connsiteX4" fmla="*/ 496796 w 578799"/>
                <a:gd name="connsiteY4" fmla="*/ 51129 h 33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799" h="335162">
                  <a:moveTo>
                    <a:pt x="496796" y="51129"/>
                  </a:moveTo>
                  <a:cubicBezTo>
                    <a:pt x="385470" y="-15380"/>
                    <a:pt x="202151" y="-17287"/>
                    <a:pt x="87725" y="47077"/>
                  </a:cubicBezTo>
                  <a:cubicBezTo>
                    <a:pt x="-26939" y="111441"/>
                    <a:pt x="-29561" y="217523"/>
                    <a:pt x="82004" y="284033"/>
                  </a:cubicBezTo>
                  <a:cubicBezTo>
                    <a:pt x="193330" y="350543"/>
                    <a:pt x="376649" y="352450"/>
                    <a:pt x="491075" y="288085"/>
                  </a:cubicBezTo>
                  <a:cubicBezTo>
                    <a:pt x="605738" y="223721"/>
                    <a:pt x="608361" y="117639"/>
                    <a:pt x="496796" y="51129"/>
                  </a:cubicBezTo>
                  <a:close/>
                </a:path>
              </a:pathLst>
            </a:custGeom>
            <a:solidFill>
              <a:srgbClr val="DBE0E6">
                <a:alpha val="68000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AB24D8C-CAD4-128D-B5D1-E1CEA78F0F2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4162510" y="2027838"/>
              <a:ext cx="756280" cy="1155662"/>
              <a:chOff x="6448614" y="3176303"/>
              <a:chExt cx="998880" cy="1526374"/>
            </a:xfrm>
          </p:grpSpPr>
          <p:grpSp>
            <p:nvGrpSpPr>
              <p:cNvPr id="111" name="Graphic 2">
                <a:extLst>
                  <a:ext uri="{FF2B5EF4-FFF2-40B4-BE49-F238E27FC236}">
                    <a16:creationId xmlns:a16="http://schemas.microsoft.com/office/drawing/2014/main" id="{060E3C50-D00D-E6CC-2785-A61D5EF1CE13}"/>
                  </a:ext>
                </a:extLst>
              </p:cNvPr>
              <p:cNvGrpSpPr/>
              <p:nvPr/>
            </p:nvGrpSpPr>
            <p:grpSpPr>
              <a:xfrm>
                <a:off x="6640243" y="4244488"/>
                <a:ext cx="614172" cy="458189"/>
                <a:chOff x="3728441" y="3675410"/>
                <a:chExt cx="757791" cy="565332"/>
              </a:xfrm>
              <a:solidFill>
                <a:srgbClr val="3A3A3A"/>
              </a:solidFill>
            </p:grpSpPr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E5D24E38-4740-54FD-A7A1-28732B754A66}"/>
                    </a:ext>
                  </a:extLst>
                </p:cNvPr>
                <p:cNvSpPr/>
                <p:nvPr/>
              </p:nvSpPr>
              <p:spPr>
                <a:xfrm>
                  <a:off x="3732683" y="3943082"/>
                  <a:ext cx="753549" cy="297660"/>
                </a:xfrm>
                <a:custGeom>
                  <a:avLst/>
                  <a:gdLst>
                    <a:gd name="connsiteX0" fmla="*/ 0 w 753549"/>
                    <a:gd name="connsiteY0" fmla="*/ 15121 h 297660"/>
                    <a:gd name="connsiteX1" fmla="*/ 50405 w 753549"/>
                    <a:gd name="connsiteY1" fmla="*/ 154994 h 297660"/>
                    <a:gd name="connsiteX2" fmla="*/ 272605 w 753549"/>
                    <a:gd name="connsiteY2" fmla="*/ 287726 h 297660"/>
                    <a:gd name="connsiteX3" fmla="*/ 753549 w 753549"/>
                    <a:gd name="connsiteY3" fmla="*/ 0 h 297660"/>
                    <a:gd name="connsiteX4" fmla="*/ 0 w 753549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3549" h="297660">
                      <a:moveTo>
                        <a:pt x="0" y="15121"/>
                      </a:moveTo>
                      <a:cubicBezTo>
                        <a:pt x="840" y="29823"/>
                        <a:pt x="16802" y="109210"/>
                        <a:pt x="50405" y="154994"/>
                      </a:cubicBezTo>
                      <a:cubicBezTo>
                        <a:pt x="105850" y="230181"/>
                        <a:pt x="190698" y="270085"/>
                        <a:pt x="272605" y="287726"/>
                      </a:cubicBezTo>
                      <a:cubicBezTo>
                        <a:pt x="444821" y="325530"/>
                        <a:pt x="746829" y="260844"/>
                        <a:pt x="753549" y="0"/>
                      </a:cubicBezTo>
                      <a:cubicBezTo>
                        <a:pt x="569992" y="163395"/>
                        <a:pt x="154994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6414FD1A-B36B-63CD-2DA3-E09972EC4E62}"/>
                    </a:ext>
                  </a:extLst>
                </p:cNvPr>
                <p:cNvSpPr/>
                <p:nvPr/>
              </p:nvSpPr>
              <p:spPr>
                <a:xfrm>
                  <a:off x="3728441" y="3675410"/>
                  <a:ext cx="757265" cy="526861"/>
                </a:xfrm>
                <a:custGeom>
                  <a:avLst/>
                  <a:gdLst>
                    <a:gd name="connsiteX0" fmla="*/ 633879 w 757265"/>
                    <a:gd name="connsiteY0" fmla="*/ 46732 h 526861"/>
                    <a:gd name="connsiteX1" fmla="*/ 122272 w 757265"/>
                    <a:gd name="connsiteY1" fmla="*/ 51772 h 526861"/>
                    <a:gd name="connsiteX2" fmla="*/ 6762 w 757265"/>
                    <a:gd name="connsiteY2" fmla="*/ 298755 h 526861"/>
                    <a:gd name="connsiteX3" fmla="*/ 194939 w 757265"/>
                    <a:gd name="connsiteY3" fmla="*/ 494073 h 526861"/>
                    <a:gd name="connsiteX4" fmla="*/ 460403 w 757265"/>
                    <a:gd name="connsiteY4" fmla="*/ 520956 h 526861"/>
                    <a:gd name="connsiteX5" fmla="*/ 606997 w 757265"/>
                    <a:gd name="connsiteY5" fmla="*/ 475171 h 526861"/>
                    <a:gd name="connsiteX6" fmla="*/ 738469 w 757265"/>
                    <a:gd name="connsiteY6" fmla="*/ 351680 h 526861"/>
                    <a:gd name="connsiteX7" fmla="*/ 633459 w 757265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57265" h="526861">
                      <a:moveTo>
                        <a:pt x="633879" y="46732"/>
                      </a:moveTo>
                      <a:cubicBezTo>
                        <a:pt x="563733" y="13129"/>
                        <a:pt x="300789" y="-41476"/>
                        <a:pt x="122272" y="51772"/>
                      </a:cubicBezTo>
                      <a:cubicBezTo>
                        <a:pt x="65567" y="81175"/>
                        <a:pt x="-25581" y="139560"/>
                        <a:pt x="6762" y="298755"/>
                      </a:cubicBezTo>
                      <a:cubicBezTo>
                        <a:pt x="22303" y="374362"/>
                        <a:pt x="107151" y="449129"/>
                        <a:pt x="194939" y="494073"/>
                      </a:cubicBezTo>
                      <a:cubicBezTo>
                        <a:pt x="277266" y="536077"/>
                        <a:pt x="409999" y="528516"/>
                        <a:pt x="460403" y="520956"/>
                      </a:cubicBezTo>
                      <a:cubicBezTo>
                        <a:pt x="515008" y="512555"/>
                        <a:pt x="564993" y="497853"/>
                        <a:pt x="606997" y="475171"/>
                      </a:cubicBezTo>
                      <a:cubicBezTo>
                        <a:pt x="658242" y="447449"/>
                        <a:pt x="710326" y="411325"/>
                        <a:pt x="738469" y="351680"/>
                      </a:cubicBezTo>
                      <a:cubicBezTo>
                        <a:pt x="790134" y="242890"/>
                        <a:pt x="728808" y="92096"/>
                        <a:pt x="633459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2" name="Graphic 2">
                <a:extLst>
                  <a:ext uri="{FF2B5EF4-FFF2-40B4-BE49-F238E27FC236}">
                    <a16:creationId xmlns:a16="http://schemas.microsoft.com/office/drawing/2014/main" id="{1090652F-D8F7-B23F-FA04-8BE107B2A193}"/>
                  </a:ext>
                </a:extLst>
              </p:cNvPr>
              <p:cNvGrpSpPr/>
              <p:nvPr/>
            </p:nvGrpSpPr>
            <p:grpSpPr>
              <a:xfrm>
                <a:off x="6603189" y="4168232"/>
                <a:ext cx="688396" cy="470102"/>
                <a:chOff x="3682722" y="3581322"/>
                <a:chExt cx="849372" cy="580033"/>
              </a:xfrm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643AEC3F-8DD9-E2DE-D833-EBA15ED20A97}"/>
                    </a:ext>
                  </a:extLst>
                </p:cNvPr>
                <p:cNvSpPr/>
                <p:nvPr/>
              </p:nvSpPr>
              <p:spPr>
                <a:xfrm>
                  <a:off x="3686898" y="3863695"/>
                  <a:ext cx="845117" cy="297660"/>
                </a:xfrm>
                <a:custGeom>
                  <a:avLst/>
                  <a:gdLst>
                    <a:gd name="connsiteX0" fmla="*/ 0 w 845117"/>
                    <a:gd name="connsiteY0" fmla="*/ 14701 h 297660"/>
                    <a:gd name="connsiteX1" fmla="*/ 56705 w 845117"/>
                    <a:gd name="connsiteY1" fmla="*/ 154574 h 297660"/>
                    <a:gd name="connsiteX2" fmla="*/ 305788 w 845117"/>
                    <a:gd name="connsiteY2" fmla="*/ 287726 h 297660"/>
                    <a:gd name="connsiteX3" fmla="*/ 845118 w 845117"/>
                    <a:gd name="connsiteY3" fmla="*/ 0 h 297660"/>
                    <a:gd name="connsiteX4" fmla="*/ 0 w 845117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5117" h="297660">
                      <a:moveTo>
                        <a:pt x="0" y="14701"/>
                      </a:moveTo>
                      <a:cubicBezTo>
                        <a:pt x="1260" y="29403"/>
                        <a:pt x="18902" y="108790"/>
                        <a:pt x="56705" y="154574"/>
                      </a:cubicBezTo>
                      <a:cubicBezTo>
                        <a:pt x="118871" y="229761"/>
                        <a:pt x="214220" y="269665"/>
                        <a:pt x="305788" y="287726"/>
                      </a:cubicBezTo>
                      <a:cubicBezTo>
                        <a:pt x="499006" y="325530"/>
                        <a:pt x="837557" y="260844"/>
                        <a:pt x="845118" y="0"/>
                      </a:cubicBezTo>
                      <a:cubicBezTo>
                        <a:pt x="639299" y="163395"/>
                        <a:pt x="173476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96999E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22CDAE9-9731-48CC-86BD-2004BC0E548F}"/>
                    </a:ext>
                  </a:extLst>
                </p:cNvPr>
                <p:cNvSpPr/>
                <p:nvPr/>
              </p:nvSpPr>
              <p:spPr>
                <a:xfrm>
                  <a:off x="3686898" y="3849414"/>
                  <a:ext cx="845117" cy="297660"/>
                </a:xfrm>
                <a:custGeom>
                  <a:avLst/>
                  <a:gdLst>
                    <a:gd name="connsiteX0" fmla="*/ 0 w 845117"/>
                    <a:gd name="connsiteY0" fmla="*/ 14701 h 297660"/>
                    <a:gd name="connsiteX1" fmla="*/ 56705 w 845117"/>
                    <a:gd name="connsiteY1" fmla="*/ 154574 h 297660"/>
                    <a:gd name="connsiteX2" fmla="*/ 305788 w 845117"/>
                    <a:gd name="connsiteY2" fmla="*/ 287726 h 297660"/>
                    <a:gd name="connsiteX3" fmla="*/ 845118 w 845117"/>
                    <a:gd name="connsiteY3" fmla="*/ 0 h 297660"/>
                    <a:gd name="connsiteX4" fmla="*/ 0 w 845117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5117" h="297660">
                      <a:moveTo>
                        <a:pt x="0" y="14701"/>
                      </a:moveTo>
                      <a:cubicBezTo>
                        <a:pt x="1260" y="29403"/>
                        <a:pt x="18902" y="108790"/>
                        <a:pt x="56705" y="154574"/>
                      </a:cubicBezTo>
                      <a:cubicBezTo>
                        <a:pt x="118871" y="229761"/>
                        <a:pt x="214220" y="269665"/>
                        <a:pt x="305788" y="287726"/>
                      </a:cubicBezTo>
                      <a:cubicBezTo>
                        <a:pt x="499006" y="325530"/>
                        <a:pt x="837557" y="260844"/>
                        <a:pt x="845118" y="0"/>
                      </a:cubicBezTo>
                      <a:cubicBezTo>
                        <a:pt x="639299" y="163395"/>
                        <a:pt x="173476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5B996FF-F25C-9A09-51FE-F6F7C4875297}"/>
                    </a:ext>
                  </a:extLst>
                </p:cNvPr>
                <p:cNvSpPr/>
                <p:nvPr/>
              </p:nvSpPr>
              <p:spPr>
                <a:xfrm>
                  <a:off x="3682722" y="3581322"/>
                  <a:ext cx="849372" cy="526861"/>
                </a:xfrm>
                <a:custGeom>
                  <a:avLst/>
                  <a:gdLst>
                    <a:gd name="connsiteX0" fmla="*/ 710681 w 849372"/>
                    <a:gd name="connsiteY0" fmla="*/ 46732 h 526861"/>
                    <a:gd name="connsiteX1" fmla="*/ 136909 w 849372"/>
                    <a:gd name="connsiteY1" fmla="*/ 51772 h 526861"/>
                    <a:gd name="connsiteX2" fmla="*/ 7537 w 849372"/>
                    <a:gd name="connsiteY2" fmla="*/ 298755 h 526861"/>
                    <a:gd name="connsiteX3" fmla="*/ 218816 w 849372"/>
                    <a:gd name="connsiteY3" fmla="*/ 494073 h 526861"/>
                    <a:gd name="connsiteX4" fmla="*/ 516623 w 849372"/>
                    <a:gd name="connsiteY4" fmla="*/ 520956 h 526861"/>
                    <a:gd name="connsiteX5" fmla="*/ 680859 w 849372"/>
                    <a:gd name="connsiteY5" fmla="*/ 475171 h 526861"/>
                    <a:gd name="connsiteX6" fmla="*/ 828292 w 849372"/>
                    <a:gd name="connsiteY6" fmla="*/ 351680 h 526861"/>
                    <a:gd name="connsiteX7" fmla="*/ 710681 w 849372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9372" h="526861">
                      <a:moveTo>
                        <a:pt x="710681" y="46732"/>
                      </a:moveTo>
                      <a:cubicBezTo>
                        <a:pt x="631714" y="13129"/>
                        <a:pt x="336847" y="-41476"/>
                        <a:pt x="136909" y="51772"/>
                      </a:cubicBezTo>
                      <a:cubicBezTo>
                        <a:pt x="73483" y="81175"/>
                        <a:pt x="-28587" y="139560"/>
                        <a:pt x="7537" y="298755"/>
                      </a:cubicBezTo>
                      <a:cubicBezTo>
                        <a:pt x="24758" y="374362"/>
                        <a:pt x="120107" y="449129"/>
                        <a:pt x="218816" y="494073"/>
                      </a:cubicBezTo>
                      <a:cubicBezTo>
                        <a:pt x="311225" y="536077"/>
                        <a:pt x="459918" y="528516"/>
                        <a:pt x="516623" y="520956"/>
                      </a:cubicBezTo>
                      <a:cubicBezTo>
                        <a:pt x="577949" y="512555"/>
                        <a:pt x="633814" y="497853"/>
                        <a:pt x="680859" y="475171"/>
                      </a:cubicBezTo>
                      <a:cubicBezTo>
                        <a:pt x="738404" y="447449"/>
                        <a:pt x="796789" y="411325"/>
                        <a:pt x="828292" y="351680"/>
                      </a:cubicBezTo>
                      <a:cubicBezTo>
                        <a:pt x="886257" y="242890"/>
                        <a:pt x="817371" y="92096"/>
                        <a:pt x="710681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845252CE-2B1B-0FE6-DE53-4700188228D7}"/>
                  </a:ext>
                </a:extLst>
              </p:cNvPr>
              <p:cNvGrpSpPr/>
              <p:nvPr/>
            </p:nvGrpSpPr>
            <p:grpSpPr>
              <a:xfrm>
                <a:off x="6585448" y="4086869"/>
                <a:ext cx="724114" cy="468743"/>
                <a:chOff x="3660834" y="3480932"/>
                <a:chExt cx="893443" cy="578354"/>
              </a:xfrm>
            </p:grpSpPr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15EC715C-AC5D-14F2-9999-2A64BD7C7E72}"/>
                    </a:ext>
                  </a:extLst>
                </p:cNvPr>
                <p:cNvSpPr/>
                <p:nvPr/>
              </p:nvSpPr>
              <p:spPr>
                <a:xfrm>
                  <a:off x="3665476" y="3761626"/>
                  <a:ext cx="888801" cy="297660"/>
                </a:xfrm>
                <a:custGeom>
                  <a:avLst/>
                  <a:gdLst>
                    <a:gd name="connsiteX0" fmla="*/ 0 w 888801"/>
                    <a:gd name="connsiteY0" fmla="*/ 14701 h 297660"/>
                    <a:gd name="connsiteX1" fmla="*/ 59645 w 888801"/>
                    <a:gd name="connsiteY1" fmla="*/ 154574 h 297660"/>
                    <a:gd name="connsiteX2" fmla="*/ 321750 w 888801"/>
                    <a:gd name="connsiteY2" fmla="*/ 287726 h 297660"/>
                    <a:gd name="connsiteX3" fmla="*/ 888802 w 888801"/>
                    <a:gd name="connsiteY3" fmla="*/ 0 h 297660"/>
                    <a:gd name="connsiteX4" fmla="*/ 420 w 888801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801" h="297660">
                      <a:moveTo>
                        <a:pt x="0" y="14701"/>
                      </a:moveTo>
                      <a:cubicBezTo>
                        <a:pt x="1260" y="29403"/>
                        <a:pt x="19742" y="108790"/>
                        <a:pt x="59645" y="154574"/>
                      </a:cubicBezTo>
                      <a:cubicBezTo>
                        <a:pt x="125172" y="229761"/>
                        <a:pt x="225141" y="269665"/>
                        <a:pt x="321750" y="287726"/>
                      </a:cubicBezTo>
                      <a:cubicBezTo>
                        <a:pt x="525048" y="325530"/>
                        <a:pt x="880401" y="260844"/>
                        <a:pt x="888802" y="0"/>
                      </a:cubicBezTo>
                      <a:cubicBezTo>
                        <a:pt x="672482" y="163395"/>
                        <a:pt x="183137" y="149534"/>
                        <a:pt x="420" y="14701"/>
                      </a:cubicBezTo>
                      <a:close/>
                    </a:path>
                  </a:pathLst>
                </a:custGeom>
                <a:solidFill>
                  <a:srgbClr val="96999E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2DA57C4D-C13A-92BA-9557-4A2D0DE7F7BB}"/>
                    </a:ext>
                  </a:extLst>
                </p:cNvPr>
                <p:cNvSpPr/>
                <p:nvPr/>
              </p:nvSpPr>
              <p:spPr>
                <a:xfrm>
                  <a:off x="3665476" y="3748605"/>
                  <a:ext cx="888801" cy="297660"/>
                </a:xfrm>
                <a:custGeom>
                  <a:avLst/>
                  <a:gdLst>
                    <a:gd name="connsiteX0" fmla="*/ 0 w 888801"/>
                    <a:gd name="connsiteY0" fmla="*/ 15121 h 297660"/>
                    <a:gd name="connsiteX1" fmla="*/ 59645 w 888801"/>
                    <a:gd name="connsiteY1" fmla="*/ 154994 h 297660"/>
                    <a:gd name="connsiteX2" fmla="*/ 321750 w 888801"/>
                    <a:gd name="connsiteY2" fmla="*/ 287727 h 297660"/>
                    <a:gd name="connsiteX3" fmla="*/ 888802 w 888801"/>
                    <a:gd name="connsiteY3" fmla="*/ 0 h 297660"/>
                    <a:gd name="connsiteX4" fmla="*/ 420 w 888801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801" h="297660">
                      <a:moveTo>
                        <a:pt x="0" y="15121"/>
                      </a:moveTo>
                      <a:cubicBezTo>
                        <a:pt x="1260" y="29823"/>
                        <a:pt x="19742" y="109210"/>
                        <a:pt x="59645" y="154994"/>
                      </a:cubicBezTo>
                      <a:cubicBezTo>
                        <a:pt x="125172" y="230181"/>
                        <a:pt x="225141" y="270085"/>
                        <a:pt x="321750" y="287727"/>
                      </a:cubicBezTo>
                      <a:cubicBezTo>
                        <a:pt x="525048" y="325530"/>
                        <a:pt x="880401" y="260844"/>
                        <a:pt x="888802" y="0"/>
                      </a:cubicBezTo>
                      <a:cubicBezTo>
                        <a:pt x="672482" y="163395"/>
                        <a:pt x="183137" y="149534"/>
                        <a:pt x="42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3E5BBECC-BA29-E3FE-A4A6-D514A92DF96F}"/>
                    </a:ext>
                  </a:extLst>
                </p:cNvPr>
                <p:cNvSpPr/>
                <p:nvPr/>
              </p:nvSpPr>
              <p:spPr>
                <a:xfrm>
                  <a:off x="3660834" y="3480932"/>
                  <a:ext cx="892932" cy="526861"/>
                </a:xfrm>
                <a:custGeom>
                  <a:avLst/>
                  <a:gdLst>
                    <a:gd name="connsiteX0" fmla="*/ 747270 w 892932"/>
                    <a:gd name="connsiteY0" fmla="*/ 46732 h 526861"/>
                    <a:gd name="connsiteX1" fmla="*/ 144095 w 892932"/>
                    <a:gd name="connsiteY1" fmla="*/ 51772 h 526861"/>
                    <a:gd name="connsiteX2" fmla="*/ 8002 w 892932"/>
                    <a:gd name="connsiteY2" fmla="*/ 298755 h 526861"/>
                    <a:gd name="connsiteX3" fmla="*/ 230203 w 892932"/>
                    <a:gd name="connsiteY3" fmla="*/ 494073 h 526861"/>
                    <a:gd name="connsiteX4" fmla="*/ 543132 w 892932"/>
                    <a:gd name="connsiteY4" fmla="*/ 520956 h 526861"/>
                    <a:gd name="connsiteX5" fmla="*/ 715768 w 892932"/>
                    <a:gd name="connsiteY5" fmla="*/ 475171 h 526861"/>
                    <a:gd name="connsiteX6" fmla="*/ 870762 w 892932"/>
                    <a:gd name="connsiteY6" fmla="*/ 351680 h 526861"/>
                    <a:gd name="connsiteX7" fmla="*/ 747270 w 892932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92932" h="526861">
                      <a:moveTo>
                        <a:pt x="747270" y="46732"/>
                      </a:moveTo>
                      <a:cubicBezTo>
                        <a:pt x="664523" y="13129"/>
                        <a:pt x="354534" y="-41476"/>
                        <a:pt x="144095" y="51772"/>
                      </a:cubicBezTo>
                      <a:cubicBezTo>
                        <a:pt x="77309" y="81175"/>
                        <a:pt x="-30221" y="139560"/>
                        <a:pt x="8002" y="298755"/>
                      </a:cubicBezTo>
                      <a:cubicBezTo>
                        <a:pt x="26064" y="374362"/>
                        <a:pt x="126453" y="449129"/>
                        <a:pt x="230203" y="494073"/>
                      </a:cubicBezTo>
                      <a:cubicBezTo>
                        <a:pt x="327232" y="536077"/>
                        <a:pt x="483906" y="528516"/>
                        <a:pt x="543132" y="520956"/>
                      </a:cubicBezTo>
                      <a:cubicBezTo>
                        <a:pt x="607398" y="512555"/>
                        <a:pt x="666203" y="497853"/>
                        <a:pt x="715768" y="475171"/>
                      </a:cubicBezTo>
                      <a:cubicBezTo>
                        <a:pt x="776253" y="447449"/>
                        <a:pt x="837579" y="411326"/>
                        <a:pt x="870762" y="351680"/>
                      </a:cubicBezTo>
                      <a:cubicBezTo>
                        <a:pt x="931667" y="242890"/>
                        <a:pt x="859421" y="92096"/>
                        <a:pt x="747270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F2E6B2F-D823-1E36-FF04-998472C0D005}"/>
                  </a:ext>
                </a:extLst>
              </p:cNvPr>
              <p:cNvSpPr/>
              <p:nvPr/>
            </p:nvSpPr>
            <p:spPr>
              <a:xfrm>
                <a:off x="6589211" y="4072317"/>
                <a:ext cx="717969" cy="405114"/>
              </a:xfrm>
              <a:custGeom>
                <a:avLst/>
                <a:gdLst>
                  <a:gd name="connsiteX0" fmla="*/ 839657 w 885861"/>
                  <a:gd name="connsiteY0" fmla="*/ 139453 h 499846"/>
                  <a:gd name="connsiteX1" fmla="*/ 442721 w 885861"/>
                  <a:gd name="connsiteY1" fmla="*/ 0 h 499846"/>
                  <a:gd name="connsiteX2" fmla="*/ 49565 w 885861"/>
                  <a:gd name="connsiteY2" fmla="*/ 134832 h 499846"/>
                  <a:gd name="connsiteX3" fmla="*/ 11341 w 885861"/>
                  <a:gd name="connsiteY3" fmla="*/ 193218 h 499846"/>
                  <a:gd name="connsiteX4" fmla="*/ 0 w 885861"/>
                  <a:gd name="connsiteY4" fmla="*/ 249923 h 499846"/>
                  <a:gd name="connsiteX5" fmla="*/ 1680 w 885861"/>
                  <a:gd name="connsiteY5" fmla="*/ 269665 h 499846"/>
                  <a:gd name="connsiteX6" fmla="*/ 22262 w 885861"/>
                  <a:gd name="connsiteY6" fmla="*/ 328050 h 499846"/>
                  <a:gd name="connsiteX7" fmla="*/ 443141 w 885861"/>
                  <a:gd name="connsiteY7" fmla="*/ 499846 h 499846"/>
                  <a:gd name="connsiteX8" fmla="*/ 859819 w 885861"/>
                  <a:gd name="connsiteY8" fmla="*/ 334771 h 499846"/>
                  <a:gd name="connsiteX9" fmla="*/ 882921 w 885861"/>
                  <a:gd name="connsiteY9" fmla="*/ 279326 h 499846"/>
                  <a:gd name="connsiteX10" fmla="*/ 885861 w 885861"/>
                  <a:gd name="connsiteY10" fmla="*/ 249923 h 499846"/>
                  <a:gd name="connsiteX11" fmla="*/ 876201 w 885861"/>
                  <a:gd name="connsiteY11" fmla="*/ 197838 h 499846"/>
                  <a:gd name="connsiteX12" fmla="*/ 840497 w 885861"/>
                  <a:gd name="connsiteY12" fmla="*/ 139453 h 49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61" h="499846">
                    <a:moveTo>
                      <a:pt x="839657" y="139453"/>
                    </a:moveTo>
                    <a:cubicBezTo>
                      <a:pt x="767411" y="57125"/>
                      <a:pt x="616617" y="0"/>
                      <a:pt x="442721" y="0"/>
                    </a:cubicBezTo>
                    <a:cubicBezTo>
                      <a:pt x="268825" y="0"/>
                      <a:pt x="123491" y="54605"/>
                      <a:pt x="49565" y="134832"/>
                    </a:cubicBezTo>
                    <a:cubicBezTo>
                      <a:pt x="32763" y="153314"/>
                      <a:pt x="19742" y="172636"/>
                      <a:pt x="11341" y="193218"/>
                    </a:cubicBezTo>
                    <a:cubicBezTo>
                      <a:pt x="3780" y="211279"/>
                      <a:pt x="0" y="230601"/>
                      <a:pt x="0" y="249923"/>
                    </a:cubicBezTo>
                    <a:cubicBezTo>
                      <a:pt x="0" y="256644"/>
                      <a:pt x="420" y="262944"/>
                      <a:pt x="1680" y="269665"/>
                    </a:cubicBezTo>
                    <a:cubicBezTo>
                      <a:pt x="4200" y="289827"/>
                      <a:pt x="11341" y="309148"/>
                      <a:pt x="22262" y="328050"/>
                    </a:cubicBezTo>
                    <a:cubicBezTo>
                      <a:pt x="80227" y="427599"/>
                      <a:pt x="246563" y="499846"/>
                      <a:pt x="443141" y="499846"/>
                    </a:cubicBezTo>
                    <a:cubicBezTo>
                      <a:pt x="639719" y="499846"/>
                      <a:pt x="798073" y="430960"/>
                      <a:pt x="859819" y="334771"/>
                    </a:cubicBezTo>
                    <a:cubicBezTo>
                      <a:pt x="871160" y="317129"/>
                      <a:pt x="878721" y="298648"/>
                      <a:pt x="882921" y="279326"/>
                    </a:cubicBezTo>
                    <a:cubicBezTo>
                      <a:pt x="885021" y="269665"/>
                      <a:pt x="885861" y="260004"/>
                      <a:pt x="885861" y="249923"/>
                    </a:cubicBezTo>
                    <a:cubicBezTo>
                      <a:pt x="885861" y="231861"/>
                      <a:pt x="882501" y="214640"/>
                      <a:pt x="876201" y="197838"/>
                    </a:cubicBezTo>
                    <a:cubicBezTo>
                      <a:pt x="868640" y="177256"/>
                      <a:pt x="856459" y="157935"/>
                      <a:pt x="840497" y="139453"/>
                    </a:cubicBezTo>
                    <a:close/>
                  </a:path>
                </a:pathLst>
              </a:custGeom>
              <a:solidFill>
                <a:srgbClr val="96999E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A27A40F2-F629-3E9E-1E2A-DDBA333F04BF}"/>
                  </a:ext>
                </a:extLst>
              </p:cNvPr>
              <p:cNvSpPr/>
              <p:nvPr/>
            </p:nvSpPr>
            <p:spPr>
              <a:xfrm>
                <a:off x="6589211" y="4056318"/>
                <a:ext cx="717969" cy="405112"/>
              </a:xfrm>
              <a:custGeom>
                <a:avLst/>
                <a:gdLst>
                  <a:gd name="connsiteX0" fmla="*/ 839657 w 885861"/>
                  <a:gd name="connsiteY0" fmla="*/ 139453 h 499845"/>
                  <a:gd name="connsiteX1" fmla="*/ 442721 w 885861"/>
                  <a:gd name="connsiteY1" fmla="*/ 0 h 499845"/>
                  <a:gd name="connsiteX2" fmla="*/ 49565 w 885861"/>
                  <a:gd name="connsiteY2" fmla="*/ 134832 h 499845"/>
                  <a:gd name="connsiteX3" fmla="*/ 11341 w 885861"/>
                  <a:gd name="connsiteY3" fmla="*/ 193218 h 499845"/>
                  <a:gd name="connsiteX4" fmla="*/ 0 w 885861"/>
                  <a:gd name="connsiteY4" fmla="*/ 249923 h 499845"/>
                  <a:gd name="connsiteX5" fmla="*/ 1680 w 885861"/>
                  <a:gd name="connsiteY5" fmla="*/ 269665 h 499845"/>
                  <a:gd name="connsiteX6" fmla="*/ 22262 w 885861"/>
                  <a:gd name="connsiteY6" fmla="*/ 328050 h 499845"/>
                  <a:gd name="connsiteX7" fmla="*/ 443141 w 885861"/>
                  <a:gd name="connsiteY7" fmla="*/ 499846 h 499845"/>
                  <a:gd name="connsiteX8" fmla="*/ 859819 w 885861"/>
                  <a:gd name="connsiteY8" fmla="*/ 334771 h 499845"/>
                  <a:gd name="connsiteX9" fmla="*/ 882921 w 885861"/>
                  <a:gd name="connsiteY9" fmla="*/ 279746 h 499845"/>
                  <a:gd name="connsiteX10" fmla="*/ 885861 w 885861"/>
                  <a:gd name="connsiteY10" fmla="*/ 250343 h 499845"/>
                  <a:gd name="connsiteX11" fmla="*/ 876201 w 885861"/>
                  <a:gd name="connsiteY11" fmla="*/ 198258 h 499845"/>
                  <a:gd name="connsiteX12" fmla="*/ 840497 w 885861"/>
                  <a:gd name="connsiteY12" fmla="*/ 139873 h 49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61" h="499845">
                    <a:moveTo>
                      <a:pt x="839657" y="139453"/>
                    </a:moveTo>
                    <a:cubicBezTo>
                      <a:pt x="767411" y="57125"/>
                      <a:pt x="616617" y="0"/>
                      <a:pt x="442721" y="0"/>
                    </a:cubicBezTo>
                    <a:cubicBezTo>
                      <a:pt x="268825" y="0"/>
                      <a:pt x="123491" y="54605"/>
                      <a:pt x="49565" y="134832"/>
                    </a:cubicBezTo>
                    <a:cubicBezTo>
                      <a:pt x="32763" y="152894"/>
                      <a:pt x="19742" y="172636"/>
                      <a:pt x="11341" y="193218"/>
                    </a:cubicBezTo>
                    <a:cubicBezTo>
                      <a:pt x="3780" y="211279"/>
                      <a:pt x="0" y="230601"/>
                      <a:pt x="0" y="249923"/>
                    </a:cubicBezTo>
                    <a:cubicBezTo>
                      <a:pt x="0" y="256644"/>
                      <a:pt x="420" y="263364"/>
                      <a:pt x="1680" y="269665"/>
                    </a:cubicBezTo>
                    <a:cubicBezTo>
                      <a:pt x="4200" y="289827"/>
                      <a:pt x="11341" y="309148"/>
                      <a:pt x="22262" y="328050"/>
                    </a:cubicBezTo>
                    <a:cubicBezTo>
                      <a:pt x="80227" y="427599"/>
                      <a:pt x="246563" y="499846"/>
                      <a:pt x="443141" y="499846"/>
                    </a:cubicBezTo>
                    <a:cubicBezTo>
                      <a:pt x="639719" y="499846"/>
                      <a:pt x="798073" y="430960"/>
                      <a:pt x="859819" y="334771"/>
                    </a:cubicBezTo>
                    <a:cubicBezTo>
                      <a:pt x="871160" y="317129"/>
                      <a:pt x="878721" y="298647"/>
                      <a:pt x="882921" y="279746"/>
                    </a:cubicBezTo>
                    <a:cubicBezTo>
                      <a:pt x="885021" y="270085"/>
                      <a:pt x="885861" y="260424"/>
                      <a:pt x="885861" y="250343"/>
                    </a:cubicBezTo>
                    <a:cubicBezTo>
                      <a:pt x="885861" y="232281"/>
                      <a:pt x="882501" y="215060"/>
                      <a:pt x="876201" y="198258"/>
                    </a:cubicBezTo>
                    <a:cubicBezTo>
                      <a:pt x="868640" y="177676"/>
                      <a:pt x="856459" y="158355"/>
                      <a:pt x="840497" y="139873"/>
                    </a:cubicBezTo>
                    <a:close/>
                  </a:path>
                </a:pathLst>
              </a:custGeom>
              <a:solidFill>
                <a:srgbClr val="3A3A3A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DD9522E4-3796-2E0D-2012-810DF15AB130}"/>
                  </a:ext>
                </a:extLst>
              </p:cNvPr>
              <p:cNvSpPr/>
              <p:nvPr/>
            </p:nvSpPr>
            <p:spPr>
              <a:xfrm>
                <a:off x="6611679" y="4082871"/>
                <a:ext cx="672692" cy="352006"/>
              </a:xfrm>
              <a:custGeom>
                <a:avLst/>
                <a:gdLst>
                  <a:gd name="connsiteX0" fmla="*/ 414998 w 829996"/>
                  <a:gd name="connsiteY0" fmla="*/ 0 h 434320"/>
                  <a:gd name="connsiteX1" fmla="*/ 0 w 829996"/>
                  <a:gd name="connsiteY1" fmla="*/ 217160 h 434320"/>
                  <a:gd name="connsiteX2" fmla="*/ 414998 w 829996"/>
                  <a:gd name="connsiteY2" fmla="*/ 434320 h 434320"/>
                  <a:gd name="connsiteX3" fmla="*/ 829996 w 829996"/>
                  <a:gd name="connsiteY3" fmla="*/ 217160 h 434320"/>
                  <a:gd name="connsiteX4" fmla="*/ 414998 w 829996"/>
                  <a:gd name="connsiteY4" fmla="*/ 0 h 43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9996" h="434320">
                    <a:moveTo>
                      <a:pt x="414998" y="0"/>
                    </a:moveTo>
                    <a:cubicBezTo>
                      <a:pt x="170536" y="0"/>
                      <a:pt x="0" y="114671"/>
                      <a:pt x="0" y="217160"/>
                    </a:cubicBezTo>
                    <a:cubicBezTo>
                      <a:pt x="0" y="319650"/>
                      <a:pt x="170536" y="434320"/>
                      <a:pt x="414998" y="434320"/>
                    </a:cubicBezTo>
                    <a:cubicBezTo>
                      <a:pt x="659461" y="434320"/>
                      <a:pt x="829996" y="319650"/>
                      <a:pt x="829996" y="217160"/>
                    </a:cubicBezTo>
                    <a:cubicBezTo>
                      <a:pt x="829996" y="114671"/>
                      <a:pt x="659461" y="0"/>
                      <a:pt x="414998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17" name="Graphic 2">
                <a:extLst>
                  <a:ext uri="{FF2B5EF4-FFF2-40B4-BE49-F238E27FC236}">
                    <a16:creationId xmlns:a16="http://schemas.microsoft.com/office/drawing/2014/main" id="{A5844591-0782-3AAB-8A63-77F5BB8D3F0A}"/>
                  </a:ext>
                </a:extLst>
              </p:cNvPr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6448614" y="3176303"/>
                <a:ext cx="998880" cy="1262318"/>
                <a:chOff x="3492001" y="2357437"/>
                <a:chExt cx="1232462" cy="1557503"/>
              </a:xfrm>
            </p:grpSpPr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BF2DEFC7-5CE8-C0A1-0DE3-F000E2820282}"/>
                    </a:ext>
                  </a:extLst>
                </p:cNvPr>
                <p:cNvSpPr/>
                <p:nvPr/>
              </p:nvSpPr>
              <p:spPr>
                <a:xfrm>
                  <a:off x="3496621" y="2362057"/>
                  <a:ext cx="1222337" cy="1547843"/>
                </a:xfrm>
                <a:custGeom>
                  <a:avLst/>
                  <a:gdLst>
                    <a:gd name="connsiteX0" fmla="*/ 640559 w 1222337"/>
                    <a:gd name="connsiteY0" fmla="*/ 840 h 1547843"/>
                    <a:gd name="connsiteX1" fmla="*/ 611576 w 1222337"/>
                    <a:gd name="connsiteY1" fmla="*/ 0 h 1547843"/>
                    <a:gd name="connsiteX2" fmla="*/ 0 w 1222337"/>
                    <a:gd name="connsiteY2" fmla="*/ 611576 h 1547843"/>
                    <a:gd name="connsiteX3" fmla="*/ 91988 w 1222337"/>
                    <a:gd name="connsiteY3" fmla="*/ 934166 h 1547843"/>
                    <a:gd name="connsiteX4" fmla="*/ 195738 w 1222337"/>
                    <a:gd name="connsiteY4" fmla="*/ 1310521 h 1547843"/>
                    <a:gd name="connsiteX5" fmla="*/ 316289 w 1222337"/>
                    <a:gd name="connsiteY5" fmla="*/ 1476856 h 1547843"/>
                    <a:gd name="connsiteX6" fmla="*/ 908964 w 1222337"/>
                    <a:gd name="connsiteY6" fmla="*/ 1477696 h 1547843"/>
                    <a:gd name="connsiteX7" fmla="*/ 1026574 w 1222337"/>
                    <a:gd name="connsiteY7" fmla="*/ 1310101 h 1547843"/>
                    <a:gd name="connsiteX8" fmla="*/ 1134524 w 1222337"/>
                    <a:gd name="connsiteY8" fmla="*/ 927445 h 1547843"/>
                    <a:gd name="connsiteX9" fmla="*/ 1221472 w 1222337"/>
                    <a:gd name="connsiteY9" fmla="*/ 578813 h 1547843"/>
                    <a:gd name="connsiteX10" fmla="*/ 640559 w 1222337"/>
                    <a:gd name="connsiteY10" fmla="*/ 840 h 15478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22337" h="1547843">
                      <a:moveTo>
                        <a:pt x="640559" y="840"/>
                      </a:moveTo>
                      <a:cubicBezTo>
                        <a:pt x="630898" y="840"/>
                        <a:pt x="621237" y="0"/>
                        <a:pt x="611576" y="0"/>
                      </a:cubicBezTo>
                      <a:cubicBezTo>
                        <a:pt x="273865" y="0"/>
                        <a:pt x="0" y="273865"/>
                        <a:pt x="0" y="611576"/>
                      </a:cubicBezTo>
                      <a:cubicBezTo>
                        <a:pt x="0" y="730027"/>
                        <a:pt x="33603" y="840497"/>
                        <a:pt x="91988" y="934166"/>
                      </a:cubicBezTo>
                      <a:cubicBezTo>
                        <a:pt x="162135" y="1046736"/>
                        <a:pt x="192798" y="1177788"/>
                        <a:pt x="195738" y="1310521"/>
                      </a:cubicBezTo>
                      <a:cubicBezTo>
                        <a:pt x="196998" y="1370586"/>
                        <a:pt x="237322" y="1430652"/>
                        <a:pt x="316289" y="1476856"/>
                      </a:cubicBezTo>
                      <a:cubicBezTo>
                        <a:pt x="478004" y="1570945"/>
                        <a:pt x="745989" y="1571785"/>
                        <a:pt x="908964" y="1477696"/>
                      </a:cubicBezTo>
                      <a:cubicBezTo>
                        <a:pt x="988771" y="1431492"/>
                        <a:pt x="1023634" y="1386548"/>
                        <a:pt x="1026574" y="1310101"/>
                      </a:cubicBezTo>
                      <a:cubicBezTo>
                        <a:pt x="1032035" y="1174848"/>
                        <a:pt x="1064378" y="1042956"/>
                        <a:pt x="1134524" y="927445"/>
                      </a:cubicBezTo>
                      <a:cubicBezTo>
                        <a:pt x="1195430" y="826636"/>
                        <a:pt x="1228193" y="706925"/>
                        <a:pt x="1221472" y="578813"/>
                      </a:cubicBezTo>
                      <a:cubicBezTo>
                        <a:pt x="1205931" y="267145"/>
                        <a:pt x="943827" y="840"/>
                        <a:pt x="640559" y="840"/>
                      </a:cubicBezTo>
                      <a:close/>
                    </a:path>
                  </a:pathLst>
                </a:custGeom>
                <a:solidFill>
                  <a:srgbClr val="DBE0E6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2146B18-4AC8-0F33-CB7F-016D514ED784}"/>
                    </a:ext>
                  </a:extLst>
                </p:cNvPr>
                <p:cNvSpPr/>
                <p:nvPr/>
              </p:nvSpPr>
              <p:spPr>
                <a:xfrm>
                  <a:off x="3492001" y="2357437"/>
                  <a:ext cx="1232462" cy="1557503"/>
                </a:xfrm>
                <a:custGeom>
                  <a:avLst/>
                  <a:gdLst>
                    <a:gd name="connsiteX0" fmla="*/ 618297 w 1232462"/>
                    <a:gd name="connsiteY0" fmla="*/ 1557504 h 1557503"/>
                    <a:gd name="connsiteX1" fmla="*/ 318809 w 1232462"/>
                    <a:gd name="connsiteY1" fmla="*/ 1485677 h 1557503"/>
                    <a:gd name="connsiteX2" fmla="*/ 195738 w 1232462"/>
                    <a:gd name="connsiteY2" fmla="*/ 1315561 h 1557503"/>
                    <a:gd name="connsiteX3" fmla="*/ 92829 w 1232462"/>
                    <a:gd name="connsiteY3" fmla="*/ 941727 h 1557503"/>
                    <a:gd name="connsiteX4" fmla="*/ 0 w 1232462"/>
                    <a:gd name="connsiteY4" fmla="*/ 616617 h 1557503"/>
                    <a:gd name="connsiteX5" fmla="*/ 616197 w 1232462"/>
                    <a:gd name="connsiteY5" fmla="*/ 0 h 1557503"/>
                    <a:gd name="connsiteX6" fmla="*/ 630898 w 1232462"/>
                    <a:gd name="connsiteY6" fmla="*/ 0 h 1557503"/>
                    <a:gd name="connsiteX7" fmla="*/ 645599 w 1232462"/>
                    <a:gd name="connsiteY7" fmla="*/ 0 h 1557503"/>
                    <a:gd name="connsiteX8" fmla="*/ 1231553 w 1232462"/>
                    <a:gd name="connsiteY8" fmla="*/ 583014 h 1557503"/>
                    <a:gd name="connsiteX9" fmla="*/ 1143765 w 1232462"/>
                    <a:gd name="connsiteY9" fmla="*/ 934586 h 1557503"/>
                    <a:gd name="connsiteX10" fmla="*/ 1036235 w 1232462"/>
                    <a:gd name="connsiteY10" fmla="*/ 1315141 h 1557503"/>
                    <a:gd name="connsiteX11" fmla="*/ 916104 w 1232462"/>
                    <a:gd name="connsiteY11" fmla="*/ 1486517 h 1557503"/>
                    <a:gd name="connsiteX12" fmla="*/ 618297 w 1232462"/>
                    <a:gd name="connsiteY12" fmla="*/ 1557504 h 1557503"/>
                    <a:gd name="connsiteX13" fmla="*/ 616197 w 1232462"/>
                    <a:gd name="connsiteY13" fmla="*/ 9241 h 1557503"/>
                    <a:gd name="connsiteX14" fmla="*/ 9241 w 1232462"/>
                    <a:gd name="connsiteY14" fmla="*/ 616197 h 1557503"/>
                    <a:gd name="connsiteX15" fmla="*/ 100809 w 1232462"/>
                    <a:gd name="connsiteY15" fmla="*/ 936266 h 1557503"/>
                    <a:gd name="connsiteX16" fmla="*/ 205399 w 1232462"/>
                    <a:gd name="connsiteY16" fmla="*/ 1315141 h 1557503"/>
                    <a:gd name="connsiteX17" fmla="*/ 323850 w 1232462"/>
                    <a:gd name="connsiteY17" fmla="*/ 1477696 h 1557503"/>
                    <a:gd name="connsiteX18" fmla="*/ 911904 w 1232462"/>
                    <a:gd name="connsiteY18" fmla="*/ 1478536 h 1557503"/>
                    <a:gd name="connsiteX19" fmla="*/ 1027414 w 1232462"/>
                    <a:gd name="connsiteY19" fmla="*/ 1314721 h 1557503"/>
                    <a:gd name="connsiteX20" fmla="*/ 1136204 w 1232462"/>
                    <a:gd name="connsiteY20" fmla="*/ 929546 h 1557503"/>
                    <a:gd name="connsiteX21" fmla="*/ 1222733 w 1232462"/>
                    <a:gd name="connsiteY21" fmla="*/ 583434 h 1557503"/>
                    <a:gd name="connsiteX22" fmla="*/ 645179 w 1232462"/>
                    <a:gd name="connsiteY22" fmla="*/ 10081 h 1557503"/>
                    <a:gd name="connsiteX23" fmla="*/ 630478 w 1232462"/>
                    <a:gd name="connsiteY23" fmla="*/ 10081 h 1557503"/>
                    <a:gd name="connsiteX24" fmla="*/ 616197 w 1232462"/>
                    <a:gd name="connsiteY24" fmla="*/ 10081 h 1557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232462" h="1557503">
                      <a:moveTo>
                        <a:pt x="618297" y="1557504"/>
                      </a:moveTo>
                      <a:cubicBezTo>
                        <a:pt x="509927" y="1557504"/>
                        <a:pt x="401137" y="1533561"/>
                        <a:pt x="318809" y="1485677"/>
                      </a:cubicBezTo>
                      <a:cubicBezTo>
                        <a:pt x="240682" y="1440313"/>
                        <a:pt x="197418" y="1379827"/>
                        <a:pt x="195738" y="1315561"/>
                      </a:cubicBezTo>
                      <a:cubicBezTo>
                        <a:pt x="192798" y="1171908"/>
                        <a:pt x="157935" y="1046316"/>
                        <a:pt x="92829" y="941727"/>
                      </a:cubicBezTo>
                      <a:cubicBezTo>
                        <a:pt x="31923" y="844278"/>
                        <a:pt x="0" y="731707"/>
                        <a:pt x="0" y="616617"/>
                      </a:cubicBezTo>
                      <a:cubicBezTo>
                        <a:pt x="0" y="276385"/>
                        <a:pt x="276385" y="0"/>
                        <a:pt x="616197" y="0"/>
                      </a:cubicBezTo>
                      <a:cubicBezTo>
                        <a:pt x="621237" y="0"/>
                        <a:pt x="625858" y="0"/>
                        <a:pt x="630898" y="0"/>
                      </a:cubicBezTo>
                      <a:cubicBezTo>
                        <a:pt x="635939" y="0"/>
                        <a:pt x="640559" y="0"/>
                        <a:pt x="645599" y="0"/>
                      </a:cubicBezTo>
                      <a:cubicBezTo>
                        <a:pt x="946347" y="840"/>
                        <a:pt x="1214752" y="267565"/>
                        <a:pt x="1231553" y="583014"/>
                      </a:cubicBezTo>
                      <a:cubicBezTo>
                        <a:pt x="1238274" y="707345"/>
                        <a:pt x="1207611" y="828736"/>
                        <a:pt x="1143765" y="934586"/>
                      </a:cubicBezTo>
                      <a:cubicBezTo>
                        <a:pt x="1078239" y="1042536"/>
                        <a:pt x="1042116" y="1170648"/>
                        <a:pt x="1036235" y="1315141"/>
                      </a:cubicBezTo>
                      <a:cubicBezTo>
                        <a:pt x="1033295" y="1391168"/>
                        <a:pt x="1000532" y="1437792"/>
                        <a:pt x="916104" y="1486517"/>
                      </a:cubicBezTo>
                      <a:cubicBezTo>
                        <a:pt x="833777" y="1533981"/>
                        <a:pt x="726247" y="1557504"/>
                        <a:pt x="618297" y="1557504"/>
                      </a:cubicBezTo>
                      <a:close/>
                      <a:moveTo>
                        <a:pt x="616197" y="9241"/>
                      </a:moveTo>
                      <a:cubicBezTo>
                        <a:pt x="281426" y="9241"/>
                        <a:pt x="9241" y="281426"/>
                        <a:pt x="9241" y="616197"/>
                      </a:cubicBezTo>
                      <a:cubicBezTo>
                        <a:pt x="9241" y="729607"/>
                        <a:pt x="40744" y="840497"/>
                        <a:pt x="100809" y="936266"/>
                      </a:cubicBezTo>
                      <a:cubicBezTo>
                        <a:pt x="166755" y="1042536"/>
                        <a:pt x="202039" y="1169808"/>
                        <a:pt x="205399" y="1315141"/>
                      </a:cubicBezTo>
                      <a:cubicBezTo>
                        <a:pt x="206659" y="1376467"/>
                        <a:pt x="248663" y="1434012"/>
                        <a:pt x="323850" y="1477696"/>
                      </a:cubicBezTo>
                      <a:cubicBezTo>
                        <a:pt x="485985" y="1571785"/>
                        <a:pt x="749769" y="1572205"/>
                        <a:pt x="911904" y="1478536"/>
                      </a:cubicBezTo>
                      <a:cubicBezTo>
                        <a:pt x="992971" y="1431492"/>
                        <a:pt x="1024474" y="1387388"/>
                        <a:pt x="1027414" y="1314721"/>
                      </a:cubicBezTo>
                      <a:cubicBezTo>
                        <a:pt x="1033295" y="1168548"/>
                        <a:pt x="1069838" y="1039176"/>
                        <a:pt x="1136204" y="929546"/>
                      </a:cubicBezTo>
                      <a:cubicBezTo>
                        <a:pt x="1199210" y="825376"/>
                        <a:pt x="1229033" y="706085"/>
                        <a:pt x="1222733" y="583434"/>
                      </a:cubicBezTo>
                      <a:cubicBezTo>
                        <a:pt x="1205931" y="272605"/>
                        <a:pt x="941727" y="10081"/>
                        <a:pt x="645179" y="10081"/>
                      </a:cubicBezTo>
                      <a:cubicBezTo>
                        <a:pt x="640139" y="10081"/>
                        <a:pt x="635098" y="10081"/>
                        <a:pt x="630478" y="10081"/>
                      </a:cubicBezTo>
                      <a:cubicBezTo>
                        <a:pt x="625858" y="10081"/>
                        <a:pt x="620817" y="10081"/>
                        <a:pt x="616197" y="1008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8" name="Graphic 2">
                <a:extLst>
                  <a:ext uri="{FF2B5EF4-FFF2-40B4-BE49-F238E27FC236}">
                    <a16:creationId xmlns:a16="http://schemas.microsoft.com/office/drawing/2014/main" id="{49C28978-5654-3FD7-BA99-B3D086EF875B}"/>
                  </a:ext>
                </a:extLst>
              </p:cNvPr>
              <p:cNvGrpSpPr/>
              <p:nvPr>
                <p:custDataLst>
                  <p:tags r:id="rId13"/>
                </p:custDataLst>
              </p:nvPr>
            </p:nvGrpSpPr>
            <p:grpSpPr>
              <a:xfrm>
                <a:off x="7045069" y="3238261"/>
                <a:ext cx="350987" cy="378898"/>
                <a:chOff x="4227908" y="2433884"/>
                <a:chExt cx="433060" cy="467502"/>
              </a:xfrm>
              <a:solidFill>
                <a:schemeClr val="bg1"/>
              </a:solidFill>
            </p:grpSpPr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0EA12E92-29CD-7745-F98C-A8F786B4742F}"/>
                    </a:ext>
                  </a:extLst>
                </p:cNvPr>
                <p:cNvSpPr/>
                <p:nvPr/>
              </p:nvSpPr>
              <p:spPr>
                <a:xfrm>
                  <a:off x="4274532" y="2433884"/>
                  <a:ext cx="247822" cy="234801"/>
                </a:xfrm>
                <a:custGeom>
                  <a:avLst/>
                  <a:gdLst>
                    <a:gd name="connsiteX0" fmla="*/ 39064 w 247822"/>
                    <a:gd name="connsiteY0" fmla="*/ 0 h 234801"/>
                    <a:gd name="connsiteX1" fmla="*/ 0 w 247822"/>
                    <a:gd name="connsiteY1" fmla="*/ 111310 h 234801"/>
                    <a:gd name="connsiteX2" fmla="*/ 161715 w 247822"/>
                    <a:gd name="connsiteY2" fmla="*/ 234802 h 234801"/>
                    <a:gd name="connsiteX3" fmla="*/ 247823 w 247822"/>
                    <a:gd name="connsiteY3" fmla="*/ 159195 h 234801"/>
                    <a:gd name="connsiteX4" fmla="*/ 39064 w 247822"/>
                    <a:gd name="connsiteY4" fmla="*/ 0 h 234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7822" h="234801">
                      <a:moveTo>
                        <a:pt x="39064" y="0"/>
                      </a:moveTo>
                      <a:cubicBezTo>
                        <a:pt x="26042" y="36963"/>
                        <a:pt x="13021" y="74347"/>
                        <a:pt x="0" y="111310"/>
                      </a:cubicBezTo>
                      <a:cubicBezTo>
                        <a:pt x="62166" y="140293"/>
                        <a:pt x="117191" y="182717"/>
                        <a:pt x="161715" y="234802"/>
                      </a:cubicBezTo>
                      <a:cubicBezTo>
                        <a:pt x="190278" y="209599"/>
                        <a:pt x="219260" y="184397"/>
                        <a:pt x="247823" y="159195"/>
                      </a:cubicBezTo>
                      <a:cubicBezTo>
                        <a:pt x="190698" y="92409"/>
                        <a:pt x="119291" y="37383"/>
                        <a:pt x="39064" y="0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22F8499A-635E-CA78-C5CD-9A327FA0D7F7}"/>
                    </a:ext>
                  </a:extLst>
                </p:cNvPr>
                <p:cNvSpPr/>
                <p:nvPr/>
              </p:nvSpPr>
              <p:spPr>
                <a:xfrm>
                  <a:off x="4227908" y="2567456"/>
                  <a:ext cx="191117" cy="191537"/>
                </a:xfrm>
                <a:custGeom>
                  <a:avLst/>
                  <a:gdLst>
                    <a:gd name="connsiteX0" fmla="*/ 39064 w 191117"/>
                    <a:gd name="connsiteY0" fmla="*/ 0 h 191537"/>
                    <a:gd name="connsiteX1" fmla="*/ 0 w 191117"/>
                    <a:gd name="connsiteY1" fmla="*/ 111310 h 191537"/>
                    <a:gd name="connsiteX2" fmla="*/ 105010 w 191117"/>
                    <a:gd name="connsiteY2" fmla="*/ 191538 h 191537"/>
                    <a:gd name="connsiteX3" fmla="*/ 191118 w 191117"/>
                    <a:gd name="connsiteY3" fmla="*/ 116351 h 191537"/>
                    <a:gd name="connsiteX4" fmla="*/ 39064 w 191117"/>
                    <a:gd name="connsiteY4" fmla="*/ 0 h 191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1117" h="191537">
                      <a:moveTo>
                        <a:pt x="39064" y="0"/>
                      </a:moveTo>
                      <a:cubicBezTo>
                        <a:pt x="26042" y="36963"/>
                        <a:pt x="13021" y="74347"/>
                        <a:pt x="0" y="111310"/>
                      </a:cubicBezTo>
                      <a:cubicBezTo>
                        <a:pt x="40324" y="130212"/>
                        <a:pt x="76027" y="157935"/>
                        <a:pt x="105010" y="191538"/>
                      </a:cubicBezTo>
                      <a:cubicBezTo>
                        <a:pt x="133572" y="166335"/>
                        <a:pt x="162555" y="141133"/>
                        <a:pt x="191118" y="116351"/>
                      </a:cubicBezTo>
                      <a:cubicBezTo>
                        <a:pt x="149534" y="67626"/>
                        <a:pt x="97449" y="27303"/>
                        <a:pt x="39064" y="0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CA99B26D-E864-0ED0-90B0-06A31EDBDEB1}"/>
                    </a:ext>
                  </a:extLst>
                </p:cNvPr>
                <p:cNvSpPr/>
                <p:nvPr/>
              </p:nvSpPr>
              <p:spPr>
                <a:xfrm>
                  <a:off x="4461870" y="2635922"/>
                  <a:ext cx="199098" cy="252023"/>
                </a:xfrm>
                <a:custGeom>
                  <a:avLst/>
                  <a:gdLst>
                    <a:gd name="connsiteX0" fmla="*/ 0 w 199098"/>
                    <a:gd name="connsiteY0" fmla="*/ 65526 h 252023"/>
                    <a:gd name="connsiteX1" fmla="*/ 81488 w 199098"/>
                    <a:gd name="connsiteY1" fmla="*/ 252023 h 252023"/>
                    <a:gd name="connsiteX2" fmla="*/ 199098 w 199098"/>
                    <a:gd name="connsiteY2" fmla="*/ 240682 h 252023"/>
                    <a:gd name="connsiteX3" fmla="*/ 94089 w 199098"/>
                    <a:gd name="connsiteY3" fmla="*/ 0 h 252023"/>
                    <a:gd name="connsiteX4" fmla="*/ 420 w 199098"/>
                    <a:gd name="connsiteY4" fmla="*/ 65946 h 252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9098" h="252023">
                      <a:moveTo>
                        <a:pt x="0" y="65526"/>
                      </a:moveTo>
                      <a:cubicBezTo>
                        <a:pt x="39904" y="120971"/>
                        <a:pt x="68046" y="184397"/>
                        <a:pt x="81488" y="252023"/>
                      </a:cubicBezTo>
                      <a:cubicBezTo>
                        <a:pt x="120551" y="248243"/>
                        <a:pt x="159615" y="244462"/>
                        <a:pt x="199098" y="240682"/>
                      </a:cubicBezTo>
                      <a:cubicBezTo>
                        <a:pt x="181877" y="153734"/>
                        <a:pt x="145333" y="71407"/>
                        <a:pt x="94089" y="0"/>
                      </a:cubicBezTo>
                      <a:cubicBezTo>
                        <a:pt x="63006" y="21842"/>
                        <a:pt x="31503" y="43684"/>
                        <a:pt x="420" y="65946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319F8195-F744-09B2-C13C-840B16F1CF51}"/>
                    </a:ext>
                  </a:extLst>
                </p:cNvPr>
                <p:cNvSpPr/>
                <p:nvPr/>
              </p:nvSpPr>
              <p:spPr>
                <a:xfrm>
                  <a:off x="4349719" y="2714469"/>
                  <a:ext cx="170535" cy="186917"/>
                </a:xfrm>
                <a:custGeom>
                  <a:avLst/>
                  <a:gdLst>
                    <a:gd name="connsiteX0" fmla="*/ 0 w 170535"/>
                    <a:gd name="connsiteY0" fmla="*/ 65946 h 186917"/>
                    <a:gd name="connsiteX1" fmla="*/ 52925 w 170535"/>
                    <a:gd name="connsiteY1" fmla="*/ 186917 h 186917"/>
                    <a:gd name="connsiteX2" fmla="*/ 170536 w 170535"/>
                    <a:gd name="connsiteY2" fmla="*/ 175576 h 186917"/>
                    <a:gd name="connsiteX3" fmla="*/ 94089 w 170535"/>
                    <a:gd name="connsiteY3" fmla="*/ 0 h 186917"/>
                    <a:gd name="connsiteX4" fmla="*/ 420 w 170535"/>
                    <a:gd name="connsiteY4" fmla="*/ 65946 h 186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535" h="186917">
                      <a:moveTo>
                        <a:pt x="0" y="65946"/>
                      </a:moveTo>
                      <a:cubicBezTo>
                        <a:pt x="26042" y="102069"/>
                        <a:pt x="44104" y="143233"/>
                        <a:pt x="52925" y="186917"/>
                      </a:cubicBezTo>
                      <a:cubicBezTo>
                        <a:pt x="91988" y="183137"/>
                        <a:pt x="131052" y="179357"/>
                        <a:pt x="170536" y="175576"/>
                      </a:cubicBezTo>
                      <a:cubicBezTo>
                        <a:pt x="157935" y="112150"/>
                        <a:pt x="131472" y="52085"/>
                        <a:pt x="94089" y="0"/>
                      </a:cubicBezTo>
                      <a:cubicBezTo>
                        <a:pt x="63006" y="21842"/>
                        <a:pt x="31503" y="43684"/>
                        <a:pt x="420" y="65946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A2FD226D-413C-4272-04E0-CBCB38078C60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6663425" y="3243708"/>
                <a:ext cx="586903" cy="318643"/>
              </a:xfrm>
              <a:custGeom>
                <a:avLst/>
                <a:gdLst>
                  <a:gd name="connsiteX0" fmla="*/ 362073 w 724146"/>
                  <a:gd name="connsiteY0" fmla="*/ 0 h 393156"/>
                  <a:gd name="connsiteX1" fmla="*/ 0 w 724146"/>
                  <a:gd name="connsiteY1" fmla="*/ 196578 h 393156"/>
                  <a:gd name="connsiteX2" fmla="*/ 362073 w 724146"/>
                  <a:gd name="connsiteY2" fmla="*/ 393156 h 393156"/>
                  <a:gd name="connsiteX3" fmla="*/ 724147 w 724146"/>
                  <a:gd name="connsiteY3" fmla="*/ 196578 h 393156"/>
                  <a:gd name="connsiteX4" fmla="*/ 362073 w 724146"/>
                  <a:gd name="connsiteY4" fmla="*/ 0 h 3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146" h="393156">
                    <a:moveTo>
                      <a:pt x="362073" y="0"/>
                    </a:moveTo>
                    <a:cubicBezTo>
                      <a:pt x="162135" y="0"/>
                      <a:pt x="0" y="87788"/>
                      <a:pt x="0" y="196578"/>
                    </a:cubicBezTo>
                    <a:cubicBezTo>
                      <a:pt x="0" y="305368"/>
                      <a:pt x="162135" y="393156"/>
                      <a:pt x="362073" y="393156"/>
                    </a:cubicBezTo>
                    <a:cubicBezTo>
                      <a:pt x="562012" y="393156"/>
                      <a:pt x="724147" y="305368"/>
                      <a:pt x="724147" y="196578"/>
                    </a:cubicBezTo>
                    <a:cubicBezTo>
                      <a:pt x="724147" y="87788"/>
                      <a:pt x="562432" y="0"/>
                      <a:pt x="36207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50000"/>
                </a:schemeClr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F39B15CD-998D-FEE0-8279-80E2D950002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6730490" y="3281836"/>
                <a:ext cx="452774" cy="194727"/>
              </a:xfrm>
              <a:custGeom>
                <a:avLst/>
                <a:gdLst>
                  <a:gd name="connsiteX0" fmla="*/ 279326 w 558651"/>
                  <a:gd name="connsiteY0" fmla="*/ 0 h 240262"/>
                  <a:gd name="connsiteX1" fmla="*/ 0 w 558651"/>
                  <a:gd name="connsiteY1" fmla="*/ 120131 h 240262"/>
                  <a:gd name="connsiteX2" fmla="*/ 279326 w 558651"/>
                  <a:gd name="connsiteY2" fmla="*/ 240262 h 240262"/>
                  <a:gd name="connsiteX3" fmla="*/ 558651 w 558651"/>
                  <a:gd name="connsiteY3" fmla="*/ 120131 h 240262"/>
                  <a:gd name="connsiteX4" fmla="*/ 279326 w 558651"/>
                  <a:gd name="connsiteY4" fmla="*/ 0 h 240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651" h="240262">
                    <a:moveTo>
                      <a:pt x="279326" y="0"/>
                    </a:moveTo>
                    <a:cubicBezTo>
                      <a:pt x="125172" y="0"/>
                      <a:pt x="0" y="53765"/>
                      <a:pt x="0" y="120131"/>
                    </a:cubicBezTo>
                    <a:cubicBezTo>
                      <a:pt x="0" y="186497"/>
                      <a:pt x="125172" y="240262"/>
                      <a:pt x="279326" y="240262"/>
                    </a:cubicBezTo>
                    <a:cubicBezTo>
                      <a:pt x="433480" y="240262"/>
                      <a:pt x="558651" y="186497"/>
                      <a:pt x="558651" y="120131"/>
                    </a:cubicBezTo>
                    <a:cubicBezTo>
                      <a:pt x="558651" y="53765"/>
                      <a:pt x="433480" y="0"/>
                      <a:pt x="279326" y="0"/>
                    </a:cubicBezTo>
                    <a:close/>
                  </a:path>
                </a:pathLst>
              </a:custGeom>
              <a:solidFill>
                <a:schemeClr val="bg1">
                  <a:alpha val="50000"/>
                </a:schemeClr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BC85F231-B89F-B040-95EE-5615894FCE77}"/>
                  </a:ext>
                </a:extLst>
              </p:cNvPr>
              <p:cNvGrpSpPr/>
              <p:nvPr>
                <p:custDataLst>
                  <p:tags r:id="rId16"/>
                </p:custDataLst>
              </p:nvPr>
            </p:nvGrpSpPr>
            <p:grpSpPr>
              <a:xfrm>
                <a:off x="6663425" y="3676557"/>
                <a:ext cx="569257" cy="707795"/>
                <a:chOff x="4539779" y="2914815"/>
                <a:chExt cx="1235287" cy="1535915"/>
              </a:xfrm>
            </p:grpSpPr>
            <p:grpSp>
              <p:nvGrpSpPr>
                <p:cNvPr id="125" name="Graphic 530">
                  <a:extLst>
                    <a:ext uri="{FF2B5EF4-FFF2-40B4-BE49-F238E27FC236}">
                      <a16:creationId xmlns:a16="http://schemas.microsoft.com/office/drawing/2014/main" id="{6F6FE4AD-4A65-836F-1C7C-F399E5199B9D}"/>
                    </a:ext>
                  </a:extLst>
                </p:cNvPr>
                <p:cNvGrpSpPr/>
                <p:nvPr>
                  <p:custDataLst>
                    <p:tags r:id="rId20"/>
                  </p:custDataLst>
                </p:nvPr>
              </p:nvGrpSpPr>
              <p:grpSpPr>
                <a:xfrm>
                  <a:off x="4539779" y="3731686"/>
                  <a:ext cx="1235287" cy="719044"/>
                  <a:chOff x="8080978" y="2039345"/>
                  <a:chExt cx="582865" cy="339278"/>
                </a:xfrm>
              </p:grpSpPr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7B7143DE-D48A-1AE6-D699-D98E17D39832}"/>
                      </a:ext>
                    </a:extLst>
                  </p:cNvPr>
                  <p:cNvSpPr/>
                  <p:nvPr/>
                </p:nvSpPr>
                <p:spPr>
                  <a:xfrm>
                    <a:off x="8083130" y="2041669"/>
                    <a:ext cx="578799" cy="335162"/>
                  </a:xfrm>
                  <a:custGeom>
                    <a:avLst/>
                    <a:gdLst>
                      <a:gd name="connsiteX0" fmla="*/ 496796 w 578799"/>
                      <a:gd name="connsiteY0" fmla="*/ 51129 h 335162"/>
                      <a:gd name="connsiteX1" fmla="*/ 87725 w 578799"/>
                      <a:gd name="connsiteY1" fmla="*/ 47077 h 335162"/>
                      <a:gd name="connsiteX2" fmla="*/ 82004 w 578799"/>
                      <a:gd name="connsiteY2" fmla="*/ 284033 h 335162"/>
                      <a:gd name="connsiteX3" fmla="*/ 491075 w 578799"/>
                      <a:gd name="connsiteY3" fmla="*/ 288085 h 335162"/>
                      <a:gd name="connsiteX4" fmla="*/ 496796 w 578799"/>
                      <a:gd name="connsiteY4" fmla="*/ 51129 h 3351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8799" h="335162">
                        <a:moveTo>
                          <a:pt x="496796" y="51129"/>
                        </a:moveTo>
                        <a:cubicBezTo>
                          <a:pt x="385470" y="-15380"/>
                          <a:pt x="202151" y="-17287"/>
                          <a:pt x="87725" y="47077"/>
                        </a:cubicBezTo>
                        <a:cubicBezTo>
                          <a:pt x="-26939" y="111441"/>
                          <a:pt x="-29561" y="217523"/>
                          <a:pt x="82004" y="284033"/>
                        </a:cubicBezTo>
                        <a:cubicBezTo>
                          <a:pt x="193330" y="350543"/>
                          <a:pt x="376649" y="352450"/>
                          <a:pt x="491075" y="288085"/>
                        </a:cubicBezTo>
                        <a:cubicBezTo>
                          <a:pt x="605738" y="223721"/>
                          <a:pt x="608361" y="117639"/>
                          <a:pt x="496796" y="51129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 w="237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4685172-8D95-EFFB-D53E-CA7C9212334F}"/>
                      </a:ext>
                    </a:extLst>
                  </p:cNvPr>
                  <p:cNvSpPr/>
                  <p:nvPr/>
                </p:nvSpPr>
                <p:spPr>
                  <a:xfrm>
                    <a:off x="8080978" y="2039345"/>
                    <a:ext cx="582865" cy="339278"/>
                  </a:xfrm>
                  <a:custGeom>
                    <a:avLst/>
                    <a:gdLst>
                      <a:gd name="connsiteX0" fmla="*/ 292506 w 582865"/>
                      <a:gd name="connsiteY0" fmla="*/ 339279 h 339278"/>
                      <a:gd name="connsiteX1" fmla="*/ 82964 w 582865"/>
                      <a:gd name="connsiteY1" fmla="*/ 288026 h 339278"/>
                      <a:gd name="connsiteX2" fmla="*/ 6 w 582865"/>
                      <a:gd name="connsiteY2" fmla="*/ 167879 h 339278"/>
                      <a:gd name="connsiteX3" fmla="*/ 88685 w 582865"/>
                      <a:gd name="connsiteY3" fmla="*/ 47256 h 339278"/>
                      <a:gd name="connsiteX4" fmla="*/ 499902 w 582865"/>
                      <a:gd name="connsiteY4" fmla="*/ 51308 h 339278"/>
                      <a:gd name="connsiteX5" fmla="*/ 499902 w 582865"/>
                      <a:gd name="connsiteY5" fmla="*/ 51308 h 339278"/>
                      <a:gd name="connsiteX6" fmla="*/ 582860 w 582865"/>
                      <a:gd name="connsiteY6" fmla="*/ 171455 h 339278"/>
                      <a:gd name="connsiteX7" fmla="*/ 494180 w 582865"/>
                      <a:gd name="connsiteY7" fmla="*/ 292078 h 339278"/>
                      <a:gd name="connsiteX8" fmla="*/ 292506 w 582865"/>
                      <a:gd name="connsiteY8" fmla="*/ 339279 h 339278"/>
                      <a:gd name="connsiteX9" fmla="*/ 290599 w 582865"/>
                      <a:gd name="connsiteY9" fmla="*/ 4346 h 339278"/>
                      <a:gd name="connsiteX10" fmla="*/ 91069 w 582865"/>
                      <a:gd name="connsiteY10" fmla="*/ 51070 h 339278"/>
                      <a:gd name="connsiteX11" fmla="*/ 4535 w 582865"/>
                      <a:gd name="connsiteY11" fmla="*/ 167879 h 339278"/>
                      <a:gd name="connsiteX12" fmla="*/ 85348 w 582865"/>
                      <a:gd name="connsiteY12" fmla="*/ 284212 h 339278"/>
                      <a:gd name="connsiteX13" fmla="*/ 492273 w 582865"/>
                      <a:gd name="connsiteY13" fmla="*/ 288264 h 339278"/>
                      <a:gd name="connsiteX14" fmla="*/ 578807 w 582865"/>
                      <a:gd name="connsiteY14" fmla="*/ 171455 h 339278"/>
                      <a:gd name="connsiteX15" fmla="*/ 497995 w 582865"/>
                      <a:gd name="connsiteY15" fmla="*/ 55122 h 339278"/>
                      <a:gd name="connsiteX16" fmla="*/ 497995 w 582865"/>
                      <a:gd name="connsiteY16" fmla="*/ 55122 h 339278"/>
                      <a:gd name="connsiteX17" fmla="*/ 290599 w 582865"/>
                      <a:gd name="connsiteY17" fmla="*/ 4346 h 3392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82865" h="339278">
                        <a:moveTo>
                          <a:pt x="292506" y="339279"/>
                        </a:moveTo>
                        <a:cubicBezTo>
                          <a:pt x="216222" y="339279"/>
                          <a:pt x="140177" y="322115"/>
                          <a:pt x="82964" y="288026"/>
                        </a:cubicBezTo>
                        <a:cubicBezTo>
                          <a:pt x="28850" y="255605"/>
                          <a:pt x="-471" y="212934"/>
                          <a:pt x="6" y="167879"/>
                        </a:cubicBezTo>
                        <a:cubicBezTo>
                          <a:pt x="721" y="121871"/>
                          <a:pt x="32188" y="79199"/>
                          <a:pt x="88685" y="47256"/>
                        </a:cubicBezTo>
                        <a:cubicBezTo>
                          <a:pt x="203588" y="-17347"/>
                          <a:pt x="388099" y="-15440"/>
                          <a:pt x="499902" y="51308"/>
                        </a:cubicBezTo>
                        <a:lnTo>
                          <a:pt x="499902" y="51308"/>
                        </a:lnTo>
                        <a:cubicBezTo>
                          <a:pt x="554015" y="83729"/>
                          <a:pt x="583337" y="126400"/>
                          <a:pt x="582860" y="171455"/>
                        </a:cubicBezTo>
                        <a:cubicBezTo>
                          <a:pt x="582145" y="217463"/>
                          <a:pt x="550678" y="260135"/>
                          <a:pt x="494180" y="292078"/>
                        </a:cubicBezTo>
                        <a:cubicBezTo>
                          <a:pt x="437921" y="323545"/>
                          <a:pt x="365213" y="339279"/>
                          <a:pt x="292506" y="339279"/>
                        </a:cubicBezTo>
                        <a:close/>
                        <a:moveTo>
                          <a:pt x="290599" y="4346"/>
                        </a:moveTo>
                        <a:cubicBezTo>
                          <a:pt x="218606" y="4346"/>
                          <a:pt x="146613" y="19841"/>
                          <a:pt x="91069" y="51070"/>
                        </a:cubicBezTo>
                        <a:cubicBezTo>
                          <a:pt x="35764" y="82060"/>
                          <a:pt x="5012" y="123539"/>
                          <a:pt x="4535" y="167879"/>
                        </a:cubicBezTo>
                        <a:cubicBezTo>
                          <a:pt x="4058" y="211504"/>
                          <a:pt x="32665" y="252745"/>
                          <a:pt x="85348" y="284212"/>
                        </a:cubicBezTo>
                        <a:cubicBezTo>
                          <a:pt x="195959" y="350245"/>
                          <a:pt x="378563" y="352152"/>
                          <a:pt x="492273" y="288264"/>
                        </a:cubicBezTo>
                        <a:cubicBezTo>
                          <a:pt x="547579" y="257274"/>
                          <a:pt x="578092" y="215795"/>
                          <a:pt x="578807" y="171455"/>
                        </a:cubicBezTo>
                        <a:cubicBezTo>
                          <a:pt x="579284" y="127830"/>
                          <a:pt x="550678" y="86589"/>
                          <a:pt x="497995" y="55122"/>
                        </a:cubicBezTo>
                        <a:lnTo>
                          <a:pt x="497995" y="55122"/>
                        </a:lnTo>
                        <a:cubicBezTo>
                          <a:pt x="441497" y="21272"/>
                          <a:pt x="365929" y="4346"/>
                          <a:pt x="290599" y="434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 w="237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26" name="Graphic 530">
                  <a:extLst>
                    <a:ext uri="{FF2B5EF4-FFF2-40B4-BE49-F238E27FC236}">
                      <a16:creationId xmlns:a16="http://schemas.microsoft.com/office/drawing/2014/main" id="{4C0193B1-AFCC-4E0C-A010-75686DB86BBF}"/>
                    </a:ext>
                  </a:extLst>
                </p:cNvPr>
                <p:cNvGrpSpPr/>
                <p:nvPr>
                  <p:custDataLst>
                    <p:tags r:id="rId21"/>
                  </p:custDataLst>
                </p:nvPr>
              </p:nvGrpSpPr>
              <p:grpSpPr>
                <a:xfrm>
                  <a:off x="4845457" y="2914815"/>
                  <a:ext cx="615076" cy="1299475"/>
                  <a:chOff x="8225185" y="1653906"/>
                  <a:chExt cx="290220" cy="613152"/>
                </a:xfrm>
              </p:grpSpPr>
              <p:grpSp>
                <p:nvGrpSpPr>
                  <p:cNvPr id="127" name="Graphic 530">
                    <a:extLst>
                      <a:ext uri="{FF2B5EF4-FFF2-40B4-BE49-F238E27FC236}">
                        <a16:creationId xmlns:a16="http://schemas.microsoft.com/office/drawing/2014/main" id="{96CC3919-074D-E4B8-81B4-B158DA44CA95}"/>
                      </a:ext>
                    </a:extLst>
                  </p:cNvPr>
                  <p:cNvGrpSpPr/>
                  <p:nvPr/>
                </p:nvGrpSpPr>
                <p:grpSpPr>
                  <a:xfrm>
                    <a:off x="8313172" y="1958825"/>
                    <a:ext cx="112518" cy="308233"/>
                    <a:chOff x="8313172" y="1958825"/>
                    <a:chExt cx="112518" cy="308233"/>
                  </a:xfrm>
                </p:grpSpPr>
                <p:sp>
                  <p:nvSpPr>
                    <p:cNvPr id="134" name="Freeform: Shape 133">
                      <a:extLst>
                        <a:ext uri="{FF2B5EF4-FFF2-40B4-BE49-F238E27FC236}">
                          <a16:creationId xmlns:a16="http://schemas.microsoft.com/office/drawing/2014/main" id="{8FFE09A0-4399-BF54-48D5-3EF5FBC6AD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15556" y="1959302"/>
                      <a:ext cx="107512" cy="305793"/>
                    </a:xfrm>
                    <a:custGeom>
                      <a:avLst/>
                      <a:gdLst>
                        <a:gd name="connsiteX0" fmla="*/ 106797 w 107512"/>
                        <a:gd name="connsiteY0" fmla="*/ 71278 h 305793"/>
                        <a:gd name="connsiteX1" fmla="*/ 82243 w 107512"/>
                        <a:gd name="connsiteY1" fmla="*/ 0 h 305793"/>
                        <a:gd name="connsiteX2" fmla="*/ 74615 w 107512"/>
                        <a:gd name="connsiteY2" fmla="*/ 15018 h 305793"/>
                        <a:gd name="connsiteX3" fmla="*/ 33374 w 107512"/>
                        <a:gd name="connsiteY3" fmla="*/ 15495 h 305793"/>
                        <a:gd name="connsiteX4" fmla="*/ 25031 w 107512"/>
                        <a:gd name="connsiteY4" fmla="*/ 238 h 305793"/>
                        <a:gd name="connsiteX5" fmla="*/ 954 w 107512"/>
                        <a:gd name="connsiteY5" fmla="*/ 71754 h 305793"/>
                        <a:gd name="connsiteX6" fmla="*/ 0 w 107512"/>
                        <a:gd name="connsiteY6" fmla="*/ 78667 h 305793"/>
                        <a:gd name="connsiteX7" fmla="*/ 0 w 107512"/>
                        <a:gd name="connsiteY7" fmla="*/ 77714 h 305793"/>
                        <a:gd name="connsiteX8" fmla="*/ 0 w 107512"/>
                        <a:gd name="connsiteY8" fmla="*/ 274621 h 305793"/>
                        <a:gd name="connsiteX9" fmla="*/ 15972 w 107512"/>
                        <a:gd name="connsiteY9" fmla="*/ 297029 h 305793"/>
                        <a:gd name="connsiteX10" fmla="*/ 92255 w 107512"/>
                        <a:gd name="connsiteY10" fmla="*/ 296314 h 305793"/>
                        <a:gd name="connsiteX11" fmla="*/ 107512 w 107512"/>
                        <a:gd name="connsiteY11" fmla="*/ 274383 h 305793"/>
                        <a:gd name="connsiteX12" fmla="*/ 107512 w 107512"/>
                        <a:gd name="connsiteY12" fmla="*/ 77476 h 305793"/>
                        <a:gd name="connsiteX13" fmla="*/ 107512 w 107512"/>
                        <a:gd name="connsiteY13" fmla="*/ 78191 h 305793"/>
                        <a:gd name="connsiteX14" fmla="*/ 106559 w 107512"/>
                        <a:gd name="connsiteY14" fmla="*/ 71278 h 3057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107512" h="305793">
                          <a:moveTo>
                            <a:pt x="106797" y="71278"/>
                          </a:moveTo>
                          <a:lnTo>
                            <a:pt x="82243" y="0"/>
                          </a:lnTo>
                          <a:cubicBezTo>
                            <a:pt x="84150" y="5245"/>
                            <a:pt x="81528" y="10966"/>
                            <a:pt x="74615" y="15018"/>
                          </a:cubicBezTo>
                          <a:cubicBezTo>
                            <a:pt x="63411" y="21693"/>
                            <a:pt x="44817" y="21932"/>
                            <a:pt x="33374" y="15495"/>
                          </a:cubicBezTo>
                          <a:cubicBezTo>
                            <a:pt x="25984" y="11443"/>
                            <a:pt x="23362" y="5483"/>
                            <a:pt x="25031" y="238"/>
                          </a:cubicBezTo>
                          <a:lnTo>
                            <a:pt x="954" y="71754"/>
                          </a:lnTo>
                          <a:cubicBezTo>
                            <a:pt x="238" y="74138"/>
                            <a:pt x="0" y="76284"/>
                            <a:pt x="0" y="78667"/>
                          </a:cubicBezTo>
                          <a:cubicBezTo>
                            <a:pt x="0" y="78429"/>
                            <a:pt x="0" y="77952"/>
                            <a:pt x="0" y="77714"/>
                          </a:cubicBezTo>
                          <a:lnTo>
                            <a:pt x="0" y="274621"/>
                          </a:lnTo>
                          <a:cubicBezTo>
                            <a:pt x="0" y="282726"/>
                            <a:pt x="5245" y="290831"/>
                            <a:pt x="15972" y="297029"/>
                          </a:cubicBezTo>
                          <a:cubicBezTo>
                            <a:pt x="37427" y="308949"/>
                            <a:pt x="71516" y="308710"/>
                            <a:pt x="92255" y="296314"/>
                          </a:cubicBezTo>
                          <a:cubicBezTo>
                            <a:pt x="102506" y="290116"/>
                            <a:pt x="107512" y="282249"/>
                            <a:pt x="107512" y="274383"/>
                          </a:cubicBezTo>
                          <a:lnTo>
                            <a:pt x="107512" y="77476"/>
                          </a:lnTo>
                          <a:cubicBezTo>
                            <a:pt x="107512" y="77476"/>
                            <a:pt x="107512" y="77952"/>
                            <a:pt x="107512" y="78191"/>
                          </a:cubicBezTo>
                          <a:cubicBezTo>
                            <a:pt x="107512" y="75807"/>
                            <a:pt x="107512" y="73661"/>
                            <a:pt x="106559" y="71278"/>
                          </a:cubicBezTo>
                          <a:close/>
                        </a:path>
                      </a:pathLst>
                    </a:custGeom>
                    <a:solidFill>
                      <a:srgbClr val="DBE0E6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5" name="Freeform: Shape 134">
                      <a:extLst>
                        <a:ext uri="{FF2B5EF4-FFF2-40B4-BE49-F238E27FC236}">
                          <a16:creationId xmlns:a16="http://schemas.microsoft.com/office/drawing/2014/main" id="{A919FC94-AA74-98A3-1F68-1AE9058684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13172" y="1958825"/>
                      <a:ext cx="112518" cy="308233"/>
                    </a:xfrm>
                    <a:custGeom>
                      <a:avLst/>
                      <a:gdLst>
                        <a:gd name="connsiteX0" fmla="*/ 55782 w 112518"/>
                        <a:gd name="connsiteY0" fmla="*/ 308233 h 308233"/>
                        <a:gd name="connsiteX1" fmla="*/ 17402 w 112518"/>
                        <a:gd name="connsiteY1" fmla="*/ 299175 h 308233"/>
                        <a:gd name="connsiteX2" fmla="*/ 0 w 112518"/>
                        <a:gd name="connsiteY2" fmla="*/ 275098 h 308233"/>
                        <a:gd name="connsiteX3" fmla="*/ 0 w 112518"/>
                        <a:gd name="connsiteY3" fmla="*/ 78191 h 308233"/>
                        <a:gd name="connsiteX4" fmla="*/ 1430 w 112518"/>
                        <a:gd name="connsiteY4" fmla="*/ 71516 h 308233"/>
                        <a:gd name="connsiteX5" fmla="*/ 25507 w 112518"/>
                        <a:gd name="connsiteY5" fmla="*/ 0 h 308233"/>
                        <a:gd name="connsiteX6" fmla="*/ 29560 w 112518"/>
                        <a:gd name="connsiteY6" fmla="*/ 1430 h 308233"/>
                        <a:gd name="connsiteX7" fmla="*/ 29560 w 112518"/>
                        <a:gd name="connsiteY7" fmla="*/ 1430 h 308233"/>
                        <a:gd name="connsiteX8" fmla="*/ 36950 w 112518"/>
                        <a:gd name="connsiteY8" fmla="*/ 14303 h 308233"/>
                        <a:gd name="connsiteX9" fmla="*/ 76045 w 112518"/>
                        <a:gd name="connsiteY9" fmla="*/ 13826 h 308233"/>
                        <a:gd name="connsiteX10" fmla="*/ 82720 w 112518"/>
                        <a:gd name="connsiteY10" fmla="*/ 1430 h 308233"/>
                        <a:gd name="connsiteX11" fmla="*/ 82720 w 112518"/>
                        <a:gd name="connsiteY11" fmla="*/ 1430 h 308233"/>
                        <a:gd name="connsiteX12" fmla="*/ 86773 w 112518"/>
                        <a:gd name="connsiteY12" fmla="*/ 0 h 308233"/>
                        <a:gd name="connsiteX13" fmla="*/ 86773 w 112518"/>
                        <a:gd name="connsiteY13" fmla="*/ 0 h 308233"/>
                        <a:gd name="connsiteX14" fmla="*/ 111326 w 112518"/>
                        <a:gd name="connsiteY14" fmla="*/ 71278 h 308233"/>
                        <a:gd name="connsiteX15" fmla="*/ 112518 w 112518"/>
                        <a:gd name="connsiteY15" fmla="*/ 77952 h 308233"/>
                        <a:gd name="connsiteX16" fmla="*/ 112518 w 112518"/>
                        <a:gd name="connsiteY16" fmla="*/ 77952 h 308233"/>
                        <a:gd name="connsiteX17" fmla="*/ 112518 w 112518"/>
                        <a:gd name="connsiteY17" fmla="*/ 274859 h 308233"/>
                        <a:gd name="connsiteX18" fmla="*/ 95831 w 112518"/>
                        <a:gd name="connsiteY18" fmla="*/ 298460 h 308233"/>
                        <a:gd name="connsiteX19" fmla="*/ 55782 w 112518"/>
                        <a:gd name="connsiteY19" fmla="*/ 308233 h 308233"/>
                        <a:gd name="connsiteX20" fmla="*/ 4529 w 112518"/>
                        <a:gd name="connsiteY20" fmla="*/ 78906 h 308233"/>
                        <a:gd name="connsiteX21" fmla="*/ 4529 w 112518"/>
                        <a:gd name="connsiteY21" fmla="*/ 275098 h 308233"/>
                        <a:gd name="connsiteX22" fmla="*/ 19548 w 112518"/>
                        <a:gd name="connsiteY22" fmla="*/ 295599 h 308233"/>
                        <a:gd name="connsiteX23" fmla="*/ 93686 w 112518"/>
                        <a:gd name="connsiteY23" fmla="*/ 294884 h 308233"/>
                        <a:gd name="connsiteX24" fmla="*/ 107989 w 112518"/>
                        <a:gd name="connsiteY24" fmla="*/ 274859 h 308233"/>
                        <a:gd name="connsiteX25" fmla="*/ 107989 w 112518"/>
                        <a:gd name="connsiteY25" fmla="*/ 78667 h 308233"/>
                        <a:gd name="connsiteX26" fmla="*/ 107989 w 112518"/>
                        <a:gd name="connsiteY26" fmla="*/ 78667 h 308233"/>
                        <a:gd name="connsiteX27" fmla="*/ 107035 w 112518"/>
                        <a:gd name="connsiteY27" fmla="*/ 72708 h 308233"/>
                        <a:gd name="connsiteX28" fmla="*/ 85581 w 112518"/>
                        <a:gd name="connsiteY28" fmla="*/ 10251 h 308233"/>
                        <a:gd name="connsiteX29" fmla="*/ 77952 w 112518"/>
                        <a:gd name="connsiteY29" fmla="*/ 17641 h 308233"/>
                        <a:gd name="connsiteX30" fmla="*/ 34566 w 112518"/>
                        <a:gd name="connsiteY30" fmla="*/ 18117 h 308233"/>
                        <a:gd name="connsiteX31" fmla="*/ 26222 w 112518"/>
                        <a:gd name="connsiteY31" fmla="*/ 10489 h 308233"/>
                        <a:gd name="connsiteX32" fmla="*/ 5244 w 112518"/>
                        <a:gd name="connsiteY32" fmla="*/ 72946 h 308233"/>
                        <a:gd name="connsiteX33" fmla="*/ 4529 w 112518"/>
                        <a:gd name="connsiteY33" fmla="*/ 79144 h 308233"/>
                        <a:gd name="connsiteX34" fmla="*/ 4529 w 112518"/>
                        <a:gd name="connsiteY34" fmla="*/ 79144 h 3082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112518" h="308233">
                          <a:moveTo>
                            <a:pt x="55782" y="308233"/>
                          </a:moveTo>
                          <a:cubicBezTo>
                            <a:pt x="41956" y="308233"/>
                            <a:pt x="28130" y="305373"/>
                            <a:pt x="17402" y="299175"/>
                          </a:cubicBezTo>
                          <a:cubicBezTo>
                            <a:pt x="6198" y="292977"/>
                            <a:pt x="0" y="284395"/>
                            <a:pt x="0" y="275098"/>
                          </a:cubicBezTo>
                          <a:lnTo>
                            <a:pt x="0" y="78191"/>
                          </a:lnTo>
                          <a:cubicBezTo>
                            <a:pt x="238" y="75807"/>
                            <a:pt x="715" y="73661"/>
                            <a:pt x="1430" y="71516"/>
                          </a:cubicBezTo>
                          <a:lnTo>
                            <a:pt x="25507" y="0"/>
                          </a:lnTo>
                          <a:lnTo>
                            <a:pt x="29560" y="1430"/>
                          </a:lnTo>
                          <a:lnTo>
                            <a:pt x="29560" y="1430"/>
                          </a:lnTo>
                          <a:cubicBezTo>
                            <a:pt x="28130" y="5960"/>
                            <a:pt x="30752" y="10727"/>
                            <a:pt x="36950" y="14303"/>
                          </a:cubicBezTo>
                          <a:cubicBezTo>
                            <a:pt x="47916" y="20501"/>
                            <a:pt x="65318" y="20263"/>
                            <a:pt x="76045" y="13826"/>
                          </a:cubicBezTo>
                          <a:cubicBezTo>
                            <a:pt x="81766" y="10251"/>
                            <a:pt x="84389" y="5721"/>
                            <a:pt x="82720" y="1430"/>
                          </a:cubicBezTo>
                          <a:lnTo>
                            <a:pt x="82720" y="1430"/>
                          </a:lnTo>
                          <a:lnTo>
                            <a:pt x="86773" y="0"/>
                          </a:lnTo>
                          <a:lnTo>
                            <a:pt x="86773" y="0"/>
                          </a:lnTo>
                          <a:lnTo>
                            <a:pt x="111326" y="71278"/>
                          </a:lnTo>
                          <a:cubicBezTo>
                            <a:pt x="112042" y="73423"/>
                            <a:pt x="112518" y="75807"/>
                            <a:pt x="112518" y="77952"/>
                          </a:cubicBezTo>
                          <a:lnTo>
                            <a:pt x="112518" y="77952"/>
                          </a:lnTo>
                          <a:lnTo>
                            <a:pt x="112518" y="274859"/>
                          </a:lnTo>
                          <a:cubicBezTo>
                            <a:pt x="112518" y="283918"/>
                            <a:pt x="106559" y="292262"/>
                            <a:pt x="95831" y="298460"/>
                          </a:cubicBezTo>
                          <a:cubicBezTo>
                            <a:pt x="84865" y="304896"/>
                            <a:pt x="70324" y="308233"/>
                            <a:pt x="55782" y="308233"/>
                          </a:cubicBezTo>
                          <a:close/>
                          <a:moveTo>
                            <a:pt x="4529" y="78906"/>
                          </a:moveTo>
                          <a:lnTo>
                            <a:pt x="4529" y="275098"/>
                          </a:lnTo>
                          <a:cubicBezTo>
                            <a:pt x="4529" y="282726"/>
                            <a:pt x="9774" y="290116"/>
                            <a:pt x="19548" y="295599"/>
                          </a:cubicBezTo>
                          <a:cubicBezTo>
                            <a:pt x="40287" y="307280"/>
                            <a:pt x="73423" y="306803"/>
                            <a:pt x="93686" y="294884"/>
                          </a:cubicBezTo>
                          <a:cubicBezTo>
                            <a:pt x="102983" y="289401"/>
                            <a:pt x="107989" y="282249"/>
                            <a:pt x="107989" y="274859"/>
                          </a:cubicBezTo>
                          <a:lnTo>
                            <a:pt x="107989" y="78667"/>
                          </a:lnTo>
                          <a:lnTo>
                            <a:pt x="107989" y="78667"/>
                          </a:lnTo>
                          <a:cubicBezTo>
                            <a:pt x="107989" y="76522"/>
                            <a:pt x="107989" y="74615"/>
                            <a:pt x="107035" y="72708"/>
                          </a:cubicBezTo>
                          <a:lnTo>
                            <a:pt x="85581" y="10251"/>
                          </a:lnTo>
                          <a:cubicBezTo>
                            <a:pt x="84150" y="12873"/>
                            <a:pt x="81528" y="15495"/>
                            <a:pt x="77952" y="17641"/>
                          </a:cubicBezTo>
                          <a:cubicBezTo>
                            <a:pt x="66033" y="24792"/>
                            <a:pt x="46724" y="24792"/>
                            <a:pt x="34566" y="18117"/>
                          </a:cubicBezTo>
                          <a:cubicBezTo>
                            <a:pt x="30752" y="15972"/>
                            <a:pt x="27891" y="13350"/>
                            <a:pt x="26222" y="10489"/>
                          </a:cubicBezTo>
                          <a:lnTo>
                            <a:pt x="5244" y="72946"/>
                          </a:lnTo>
                          <a:cubicBezTo>
                            <a:pt x="4529" y="74853"/>
                            <a:pt x="4291" y="76999"/>
                            <a:pt x="4529" y="79144"/>
                          </a:cubicBezTo>
                          <a:lnTo>
                            <a:pt x="4529" y="79144"/>
                          </a:ln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28" name="Graphic 530">
                    <a:extLst>
                      <a:ext uri="{FF2B5EF4-FFF2-40B4-BE49-F238E27FC236}">
                        <a16:creationId xmlns:a16="http://schemas.microsoft.com/office/drawing/2014/main" id="{87B6E685-4F8F-0051-8402-E45C9531921F}"/>
                      </a:ext>
                    </a:extLst>
                  </p:cNvPr>
                  <p:cNvGrpSpPr/>
                  <p:nvPr/>
                </p:nvGrpSpPr>
                <p:grpSpPr>
                  <a:xfrm>
                    <a:off x="8337964" y="1943626"/>
                    <a:ext cx="62695" cy="38083"/>
                    <a:chOff x="8337964" y="1943626"/>
                    <a:chExt cx="62695" cy="38083"/>
                  </a:xfrm>
                </p:grpSpPr>
                <p:sp>
                  <p:nvSpPr>
                    <p:cNvPr id="132" name="Freeform: Shape 131">
                      <a:extLst>
                        <a:ext uri="{FF2B5EF4-FFF2-40B4-BE49-F238E27FC236}">
                          <a16:creationId xmlns:a16="http://schemas.microsoft.com/office/drawing/2014/main" id="{ECD501CA-CF05-76E5-7F18-7FB6957FB3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40197" y="1945800"/>
                      <a:ext cx="58230" cy="33679"/>
                    </a:xfrm>
                    <a:custGeom>
                      <a:avLst/>
                      <a:gdLst>
                        <a:gd name="connsiteX0" fmla="*/ 49497 w 58230"/>
                        <a:gd name="connsiteY0" fmla="*/ 4682 h 33679"/>
                        <a:gd name="connsiteX1" fmla="*/ 8256 w 58230"/>
                        <a:gd name="connsiteY1" fmla="*/ 5159 h 33679"/>
                        <a:gd name="connsiteX2" fmla="*/ 8733 w 58230"/>
                        <a:gd name="connsiteY2" fmla="*/ 28997 h 33679"/>
                        <a:gd name="connsiteX3" fmla="*/ 49974 w 58230"/>
                        <a:gd name="connsiteY3" fmla="*/ 28521 h 33679"/>
                        <a:gd name="connsiteX4" fmla="*/ 49497 w 58230"/>
                        <a:gd name="connsiteY4" fmla="*/ 4682 h 336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230" h="33679">
                          <a:moveTo>
                            <a:pt x="49497" y="4682"/>
                          </a:moveTo>
                          <a:cubicBezTo>
                            <a:pt x="38055" y="-1754"/>
                            <a:pt x="19460" y="-1516"/>
                            <a:pt x="8256" y="5159"/>
                          </a:cubicBezTo>
                          <a:cubicBezTo>
                            <a:pt x="-2948" y="11834"/>
                            <a:pt x="-2710" y="22561"/>
                            <a:pt x="8733" y="28997"/>
                          </a:cubicBezTo>
                          <a:cubicBezTo>
                            <a:pt x="20414" y="35434"/>
                            <a:pt x="38770" y="35195"/>
                            <a:pt x="49974" y="28521"/>
                          </a:cubicBezTo>
                          <a:cubicBezTo>
                            <a:pt x="61178" y="21846"/>
                            <a:pt x="60940" y="11118"/>
                            <a:pt x="49497" y="4682"/>
                          </a:cubicBezTo>
                          <a:close/>
                        </a:path>
                      </a:pathLst>
                    </a:custGeom>
                    <a:solidFill>
                      <a:srgbClr val="96999E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3" name="Freeform: Shape 132">
                      <a:extLst>
                        <a:ext uri="{FF2B5EF4-FFF2-40B4-BE49-F238E27FC236}">
                          <a16:creationId xmlns:a16="http://schemas.microsoft.com/office/drawing/2014/main" id="{42A843B6-2255-8F29-66EB-FF4CF506E3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37964" y="1943626"/>
                      <a:ext cx="62695" cy="38083"/>
                    </a:xfrm>
                    <a:custGeom>
                      <a:avLst/>
                      <a:gdLst>
                        <a:gd name="connsiteX0" fmla="*/ 31229 w 62695"/>
                        <a:gd name="connsiteY0" fmla="*/ 38084 h 38083"/>
                        <a:gd name="connsiteX1" fmla="*/ 10012 w 62695"/>
                        <a:gd name="connsiteY1" fmla="*/ 33078 h 38083"/>
                        <a:gd name="connsiteX2" fmla="*/ 0 w 62695"/>
                        <a:gd name="connsiteY2" fmla="*/ 19251 h 38083"/>
                        <a:gd name="connsiteX3" fmla="*/ 9297 w 62695"/>
                        <a:gd name="connsiteY3" fmla="*/ 5425 h 38083"/>
                        <a:gd name="connsiteX4" fmla="*/ 52683 w 62695"/>
                        <a:gd name="connsiteY4" fmla="*/ 4948 h 38083"/>
                        <a:gd name="connsiteX5" fmla="*/ 52683 w 62695"/>
                        <a:gd name="connsiteY5" fmla="*/ 4948 h 38083"/>
                        <a:gd name="connsiteX6" fmla="*/ 62696 w 62695"/>
                        <a:gd name="connsiteY6" fmla="*/ 18774 h 38083"/>
                        <a:gd name="connsiteX7" fmla="*/ 53399 w 62695"/>
                        <a:gd name="connsiteY7" fmla="*/ 32601 h 38083"/>
                        <a:gd name="connsiteX8" fmla="*/ 31229 w 62695"/>
                        <a:gd name="connsiteY8" fmla="*/ 38084 h 38083"/>
                        <a:gd name="connsiteX9" fmla="*/ 31229 w 62695"/>
                        <a:gd name="connsiteY9" fmla="*/ 4233 h 38083"/>
                        <a:gd name="connsiteX10" fmla="*/ 11204 w 62695"/>
                        <a:gd name="connsiteY10" fmla="*/ 9001 h 38083"/>
                        <a:gd name="connsiteX11" fmla="*/ 4053 w 62695"/>
                        <a:gd name="connsiteY11" fmla="*/ 19013 h 38083"/>
                        <a:gd name="connsiteX12" fmla="*/ 11919 w 62695"/>
                        <a:gd name="connsiteY12" fmla="*/ 29025 h 38083"/>
                        <a:gd name="connsiteX13" fmla="*/ 51015 w 62695"/>
                        <a:gd name="connsiteY13" fmla="*/ 28548 h 38083"/>
                        <a:gd name="connsiteX14" fmla="*/ 58166 w 62695"/>
                        <a:gd name="connsiteY14" fmla="*/ 18536 h 38083"/>
                        <a:gd name="connsiteX15" fmla="*/ 50538 w 62695"/>
                        <a:gd name="connsiteY15" fmla="*/ 8524 h 38083"/>
                        <a:gd name="connsiteX16" fmla="*/ 50538 w 62695"/>
                        <a:gd name="connsiteY16" fmla="*/ 8524 h 38083"/>
                        <a:gd name="connsiteX17" fmla="*/ 31229 w 62695"/>
                        <a:gd name="connsiteY17" fmla="*/ 3995 h 380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62695" h="38083">
                          <a:moveTo>
                            <a:pt x="31229" y="38084"/>
                          </a:moveTo>
                          <a:cubicBezTo>
                            <a:pt x="23600" y="38084"/>
                            <a:pt x="15972" y="36415"/>
                            <a:pt x="10012" y="33078"/>
                          </a:cubicBezTo>
                          <a:cubicBezTo>
                            <a:pt x="3576" y="29502"/>
                            <a:pt x="238" y="24496"/>
                            <a:pt x="0" y="19251"/>
                          </a:cubicBezTo>
                          <a:cubicBezTo>
                            <a:pt x="0" y="14007"/>
                            <a:pt x="3337" y="9001"/>
                            <a:pt x="9297" y="5425"/>
                          </a:cubicBezTo>
                          <a:cubicBezTo>
                            <a:pt x="21216" y="-1727"/>
                            <a:pt x="40526" y="-1727"/>
                            <a:pt x="52683" y="4948"/>
                          </a:cubicBezTo>
                          <a:lnTo>
                            <a:pt x="52683" y="4948"/>
                          </a:lnTo>
                          <a:cubicBezTo>
                            <a:pt x="59120" y="8524"/>
                            <a:pt x="62457" y="13292"/>
                            <a:pt x="62696" y="18774"/>
                          </a:cubicBezTo>
                          <a:cubicBezTo>
                            <a:pt x="62696" y="24019"/>
                            <a:pt x="59358" y="29025"/>
                            <a:pt x="53399" y="32601"/>
                          </a:cubicBezTo>
                          <a:cubicBezTo>
                            <a:pt x="47439" y="36177"/>
                            <a:pt x="39334" y="38084"/>
                            <a:pt x="31229" y="38084"/>
                          </a:cubicBezTo>
                          <a:close/>
                          <a:moveTo>
                            <a:pt x="31229" y="4233"/>
                          </a:moveTo>
                          <a:cubicBezTo>
                            <a:pt x="24077" y="4233"/>
                            <a:pt x="16687" y="5902"/>
                            <a:pt x="11204" y="9001"/>
                          </a:cubicBezTo>
                          <a:cubicBezTo>
                            <a:pt x="6436" y="11861"/>
                            <a:pt x="4053" y="15437"/>
                            <a:pt x="4053" y="19013"/>
                          </a:cubicBezTo>
                          <a:cubicBezTo>
                            <a:pt x="4053" y="22827"/>
                            <a:pt x="6913" y="26403"/>
                            <a:pt x="11919" y="29025"/>
                          </a:cubicBezTo>
                          <a:cubicBezTo>
                            <a:pt x="22885" y="35223"/>
                            <a:pt x="40287" y="34985"/>
                            <a:pt x="51015" y="28548"/>
                          </a:cubicBezTo>
                          <a:cubicBezTo>
                            <a:pt x="55782" y="25688"/>
                            <a:pt x="58166" y="22112"/>
                            <a:pt x="58166" y="18536"/>
                          </a:cubicBezTo>
                          <a:cubicBezTo>
                            <a:pt x="58166" y="14722"/>
                            <a:pt x="55306" y="11146"/>
                            <a:pt x="50538" y="8524"/>
                          </a:cubicBezTo>
                          <a:lnTo>
                            <a:pt x="50538" y="8524"/>
                          </a:lnTo>
                          <a:cubicBezTo>
                            <a:pt x="45293" y="5425"/>
                            <a:pt x="38142" y="3995"/>
                            <a:pt x="31229" y="3995"/>
                          </a:cubicBez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29" name="Graphic 530">
                    <a:extLst>
                      <a:ext uri="{FF2B5EF4-FFF2-40B4-BE49-F238E27FC236}">
                        <a16:creationId xmlns:a16="http://schemas.microsoft.com/office/drawing/2014/main" id="{F8C24B3D-BBCF-B788-90FB-973C3AA486B4}"/>
                      </a:ext>
                    </a:extLst>
                  </p:cNvPr>
                  <p:cNvGrpSpPr/>
                  <p:nvPr/>
                </p:nvGrpSpPr>
                <p:grpSpPr>
                  <a:xfrm>
                    <a:off x="8225185" y="1653906"/>
                    <a:ext cx="290220" cy="318507"/>
                    <a:chOff x="8225185" y="1653906"/>
                    <a:chExt cx="290220" cy="318507"/>
                  </a:xfrm>
                  <a:solidFill>
                    <a:srgbClr val="3A3A3A"/>
                  </a:solidFill>
                </p:grpSpPr>
                <p:sp>
                  <p:nvSpPr>
                    <p:cNvPr id="130" name="Freeform: Shape 129">
                      <a:extLst>
                        <a:ext uri="{FF2B5EF4-FFF2-40B4-BE49-F238E27FC236}">
                          <a16:creationId xmlns:a16="http://schemas.microsoft.com/office/drawing/2014/main" id="{090B8485-5120-4783-E958-21B9A9A7D5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77775" y="1816721"/>
                      <a:ext cx="137630" cy="155692"/>
                    </a:xfrm>
                    <a:custGeom>
                      <a:avLst/>
                      <a:gdLst>
                        <a:gd name="connsiteX0" fmla="*/ 134211 w 137630"/>
                        <a:gd name="connsiteY0" fmla="*/ 26 h 155692"/>
                        <a:gd name="connsiteX1" fmla="*/ 129444 w 137630"/>
                        <a:gd name="connsiteY1" fmla="*/ 3363 h 155692"/>
                        <a:gd name="connsiteX2" fmla="*/ 116094 w 137630"/>
                        <a:gd name="connsiteY2" fmla="*/ 76786 h 155692"/>
                        <a:gd name="connsiteX3" fmla="*/ 4053 w 137630"/>
                        <a:gd name="connsiteY3" fmla="*/ 82031 h 155692"/>
                        <a:gd name="connsiteX4" fmla="*/ 0 w 137630"/>
                        <a:gd name="connsiteY4" fmla="*/ 86083 h 155692"/>
                        <a:gd name="connsiteX5" fmla="*/ 0 w 137630"/>
                        <a:gd name="connsiteY5" fmla="*/ 151640 h 155692"/>
                        <a:gd name="connsiteX6" fmla="*/ 4053 w 137630"/>
                        <a:gd name="connsiteY6" fmla="*/ 155692 h 155692"/>
                        <a:gd name="connsiteX7" fmla="*/ 8105 w 137630"/>
                        <a:gd name="connsiteY7" fmla="*/ 151640 h 155692"/>
                        <a:gd name="connsiteX8" fmla="*/ 8105 w 137630"/>
                        <a:gd name="connsiteY8" fmla="*/ 90136 h 155692"/>
                        <a:gd name="connsiteX9" fmla="*/ 119670 w 137630"/>
                        <a:gd name="connsiteY9" fmla="*/ 85130 h 155692"/>
                        <a:gd name="connsiteX10" fmla="*/ 123484 w 137630"/>
                        <a:gd name="connsiteY10" fmla="*/ 81792 h 155692"/>
                        <a:gd name="connsiteX11" fmla="*/ 137549 w 137630"/>
                        <a:gd name="connsiteY11" fmla="*/ 5270 h 155692"/>
                        <a:gd name="connsiteX12" fmla="*/ 134211 w 137630"/>
                        <a:gd name="connsiteY12" fmla="*/ 503 h 1556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37630" h="155692">
                          <a:moveTo>
                            <a:pt x="134211" y="26"/>
                          </a:moveTo>
                          <a:cubicBezTo>
                            <a:pt x="132066" y="-212"/>
                            <a:pt x="129682" y="1218"/>
                            <a:pt x="129444" y="3363"/>
                          </a:cubicBezTo>
                          <a:lnTo>
                            <a:pt x="116094" y="76786"/>
                          </a:lnTo>
                          <a:lnTo>
                            <a:pt x="4053" y="82031"/>
                          </a:lnTo>
                          <a:cubicBezTo>
                            <a:pt x="1907" y="82031"/>
                            <a:pt x="0" y="83938"/>
                            <a:pt x="0" y="86083"/>
                          </a:cubicBezTo>
                          <a:lnTo>
                            <a:pt x="0" y="151640"/>
                          </a:lnTo>
                          <a:cubicBezTo>
                            <a:pt x="0" y="154023"/>
                            <a:pt x="1907" y="155692"/>
                            <a:pt x="4053" y="155692"/>
                          </a:cubicBezTo>
                          <a:cubicBezTo>
                            <a:pt x="6198" y="155692"/>
                            <a:pt x="8105" y="153785"/>
                            <a:pt x="8105" y="151640"/>
                          </a:cubicBezTo>
                          <a:lnTo>
                            <a:pt x="8105" y="90136"/>
                          </a:lnTo>
                          <a:lnTo>
                            <a:pt x="119670" y="85130"/>
                          </a:lnTo>
                          <a:cubicBezTo>
                            <a:pt x="121577" y="85130"/>
                            <a:pt x="123246" y="83699"/>
                            <a:pt x="123484" y="81792"/>
                          </a:cubicBezTo>
                          <a:lnTo>
                            <a:pt x="137549" y="5270"/>
                          </a:lnTo>
                          <a:cubicBezTo>
                            <a:pt x="138026" y="3125"/>
                            <a:pt x="136357" y="741"/>
                            <a:pt x="134211" y="503"/>
                          </a:cubicBez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1" name="Freeform: Shape 130">
                      <a:extLst>
                        <a:ext uri="{FF2B5EF4-FFF2-40B4-BE49-F238E27FC236}">
                          <a16:creationId xmlns:a16="http://schemas.microsoft.com/office/drawing/2014/main" id="{F6AA0406-EC9F-BB2C-7F73-FF2D33244C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25185" y="1653906"/>
                      <a:ext cx="137571" cy="305157"/>
                    </a:xfrm>
                    <a:custGeom>
                      <a:avLst/>
                      <a:gdLst>
                        <a:gd name="connsiteX0" fmla="*/ 22193 w 137571"/>
                        <a:gd name="connsiteY0" fmla="*/ 95377 h 305157"/>
                        <a:gd name="connsiteX1" fmla="*/ 8366 w 137571"/>
                        <a:gd name="connsiteY1" fmla="*/ 3598 h 305157"/>
                        <a:gd name="connsiteX2" fmla="*/ 3598 w 137571"/>
                        <a:gd name="connsiteY2" fmla="*/ 23 h 305157"/>
                        <a:gd name="connsiteX3" fmla="*/ 23 w 137571"/>
                        <a:gd name="connsiteY3" fmla="*/ 4790 h 305157"/>
                        <a:gd name="connsiteX4" fmla="*/ 14088 w 137571"/>
                        <a:gd name="connsiteY4" fmla="*/ 97761 h 305157"/>
                        <a:gd name="connsiteX5" fmla="*/ 15041 w 137571"/>
                        <a:gd name="connsiteY5" fmla="*/ 99907 h 305157"/>
                        <a:gd name="connsiteX6" fmla="*/ 129466 w 137571"/>
                        <a:gd name="connsiteY6" fmla="*/ 237217 h 305157"/>
                        <a:gd name="connsiteX7" fmla="*/ 129466 w 137571"/>
                        <a:gd name="connsiteY7" fmla="*/ 301105 h 305157"/>
                        <a:gd name="connsiteX8" fmla="*/ 133519 w 137571"/>
                        <a:gd name="connsiteY8" fmla="*/ 305157 h 305157"/>
                        <a:gd name="connsiteX9" fmla="*/ 137572 w 137571"/>
                        <a:gd name="connsiteY9" fmla="*/ 301105 h 305157"/>
                        <a:gd name="connsiteX10" fmla="*/ 137572 w 137571"/>
                        <a:gd name="connsiteY10" fmla="*/ 235548 h 305157"/>
                        <a:gd name="connsiteX11" fmla="*/ 136618 w 137571"/>
                        <a:gd name="connsiteY11" fmla="*/ 232926 h 305157"/>
                        <a:gd name="connsiteX12" fmla="*/ 21954 w 137571"/>
                        <a:gd name="connsiteY12" fmla="*/ 95139 h 3051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37571" h="305157">
                          <a:moveTo>
                            <a:pt x="22193" y="95377"/>
                          </a:moveTo>
                          <a:lnTo>
                            <a:pt x="8366" y="3598"/>
                          </a:lnTo>
                          <a:cubicBezTo>
                            <a:pt x="8128" y="1453"/>
                            <a:pt x="5982" y="-216"/>
                            <a:pt x="3598" y="23"/>
                          </a:cubicBezTo>
                          <a:cubicBezTo>
                            <a:pt x="1453" y="261"/>
                            <a:pt x="-216" y="2407"/>
                            <a:pt x="23" y="4790"/>
                          </a:cubicBezTo>
                          <a:lnTo>
                            <a:pt x="14088" y="97761"/>
                          </a:lnTo>
                          <a:cubicBezTo>
                            <a:pt x="14088" y="97761"/>
                            <a:pt x="14564" y="99191"/>
                            <a:pt x="15041" y="99907"/>
                          </a:cubicBezTo>
                          <a:lnTo>
                            <a:pt x="129466" y="237217"/>
                          </a:lnTo>
                          <a:lnTo>
                            <a:pt x="129466" y="301105"/>
                          </a:lnTo>
                          <a:cubicBezTo>
                            <a:pt x="129466" y="303488"/>
                            <a:pt x="131374" y="305157"/>
                            <a:pt x="133519" y="305157"/>
                          </a:cubicBezTo>
                          <a:cubicBezTo>
                            <a:pt x="135664" y="305157"/>
                            <a:pt x="137572" y="303250"/>
                            <a:pt x="137572" y="301105"/>
                          </a:cubicBezTo>
                          <a:lnTo>
                            <a:pt x="137572" y="235548"/>
                          </a:lnTo>
                          <a:cubicBezTo>
                            <a:pt x="137572" y="235548"/>
                            <a:pt x="137333" y="233641"/>
                            <a:pt x="136618" y="232926"/>
                          </a:cubicBezTo>
                          <a:lnTo>
                            <a:pt x="21954" y="95139"/>
                          </a:ln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</p:grpSp>
          <p:pic>
            <p:nvPicPr>
              <p:cNvPr id="122" name="Graphic 121">
                <a:extLst>
                  <a:ext uri="{FF2B5EF4-FFF2-40B4-BE49-F238E27FC236}">
                    <a16:creationId xmlns:a16="http://schemas.microsoft.com/office/drawing/2014/main" id="{D9433971-76F9-187A-8846-1AF7A504830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7"/>
                </p:custDataLst>
              </p:nvPr>
            </p:nvPicPr>
            <p:blipFill>
              <a:blip r:embed="rId28">
                <a:extLs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 rot="271482">
                <a:off x="6788908" y="3679277"/>
                <a:ext cx="320139" cy="162980"/>
              </a:xfrm>
              <a:prstGeom prst="rect">
                <a:avLst/>
              </a:prstGeom>
            </p:spPr>
          </p:pic>
          <p:pic>
            <p:nvPicPr>
              <p:cNvPr id="123" name="Graphic 122">
                <a:extLst>
                  <a:ext uri="{FF2B5EF4-FFF2-40B4-BE49-F238E27FC236}">
                    <a16:creationId xmlns:a16="http://schemas.microsoft.com/office/drawing/2014/main" id="{66F44E70-EFEB-82D1-7EDC-A831E77DED8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8"/>
                </p:custDataLst>
              </p:nvPr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6625890" y="3521372"/>
                <a:ext cx="326552" cy="158611"/>
              </a:xfrm>
              <a:prstGeom prst="rect">
                <a:avLst/>
              </a:prstGeom>
            </p:spPr>
          </p:pic>
          <p:pic>
            <p:nvPicPr>
              <p:cNvPr id="124" name="Graphic 123">
                <a:extLst>
                  <a:ext uri="{FF2B5EF4-FFF2-40B4-BE49-F238E27FC236}">
                    <a16:creationId xmlns:a16="http://schemas.microsoft.com/office/drawing/2014/main" id="{EBE6EFC8-F4EE-530C-B395-A1E848D7E95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9"/>
                </p:custDataLst>
              </p:nvPr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 rot="2258661" flipH="1">
                <a:off x="6989217" y="3695629"/>
                <a:ext cx="326552" cy="158611"/>
              </a:xfrm>
              <a:prstGeom prst="rect">
                <a:avLst/>
              </a:prstGeom>
            </p:spPr>
          </p:pic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975D50F3-52EC-033E-F2F9-8A78B600D11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3968750" y="1707750"/>
              <a:ext cx="708734" cy="595914"/>
              <a:chOff x="5290339" y="2683143"/>
              <a:chExt cx="762646" cy="641245"/>
            </a:xfrm>
          </p:grpSpPr>
          <p:grpSp>
            <p:nvGrpSpPr>
              <p:cNvPr id="95" name="Graphic 141">
                <a:extLst>
                  <a:ext uri="{FF2B5EF4-FFF2-40B4-BE49-F238E27FC236}">
                    <a16:creationId xmlns:a16="http://schemas.microsoft.com/office/drawing/2014/main" id="{2E8C0197-7410-B7C9-C38B-D99A56048700}"/>
                  </a:ext>
                </a:extLst>
              </p:cNvPr>
              <p:cNvGrpSpPr/>
              <p:nvPr/>
            </p:nvGrpSpPr>
            <p:grpSpPr>
              <a:xfrm>
                <a:off x="5428980" y="2834475"/>
                <a:ext cx="596783" cy="456630"/>
                <a:chOff x="5428980" y="2834475"/>
                <a:chExt cx="596783" cy="456630"/>
              </a:xfrm>
            </p:grpSpPr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D32367EE-9D88-7266-3A5B-A40765A3EEB2}"/>
                    </a:ext>
                  </a:extLst>
                </p:cNvPr>
                <p:cNvSpPr/>
                <p:nvPr/>
              </p:nvSpPr>
              <p:spPr>
                <a:xfrm>
                  <a:off x="5432332" y="2837827"/>
                  <a:ext cx="590879" cy="450527"/>
                </a:xfrm>
                <a:custGeom>
                  <a:avLst/>
                  <a:gdLst>
                    <a:gd name="connsiteX0" fmla="*/ 585933 w 590879"/>
                    <a:gd name="connsiteY0" fmla="*/ 174319 h 450527"/>
                    <a:gd name="connsiteX1" fmla="*/ 579708 w 590879"/>
                    <a:gd name="connsiteY1" fmla="*/ 241126 h 450527"/>
                    <a:gd name="connsiteX2" fmla="*/ 391500 w 590879"/>
                    <a:gd name="connsiteY2" fmla="*/ 420952 h 450527"/>
                    <a:gd name="connsiteX3" fmla="*/ 126908 w 590879"/>
                    <a:gd name="connsiteY3" fmla="*/ 435798 h 450527"/>
                    <a:gd name="connsiteX4" fmla="*/ 72553 w 590879"/>
                    <a:gd name="connsiteY4" fmla="*/ 388387 h 450527"/>
                    <a:gd name="connsiteX5" fmla="*/ 0 w 590879"/>
                    <a:gd name="connsiteY5" fmla="*/ 197067 h 450527"/>
                    <a:gd name="connsiteX6" fmla="*/ 519845 w 590879"/>
                    <a:gd name="connsiteY6" fmla="*/ 0 h 450527"/>
                    <a:gd name="connsiteX7" fmla="*/ 585933 w 590879"/>
                    <a:gd name="connsiteY7" fmla="*/ 174319 h 450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0879" h="450527">
                      <a:moveTo>
                        <a:pt x="585933" y="174319"/>
                      </a:moveTo>
                      <a:cubicBezTo>
                        <a:pt x="594314" y="196349"/>
                        <a:pt x="591920" y="221012"/>
                        <a:pt x="579708" y="241126"/>
                      </a:cubicBezTo>
                      <a:cubicBezTo>
                        <a:pt x="543072" y="300749"/>
                        <a:pt x="478899" y="384796"/>
                        <a:pt x="391500" y="420952"/>
                      </a:cubicBezTo>
                      <a:cubicBezTo>
                        <a:pt x="311045" y="462138"/>
                        <a:pt x="207363" y="453518"/>
                        <a:pt x="126908" y="435798"/>
                      </a:cubicBezTo>
                      <a:cubicBezTo>
                        <a:pt x="102006" y="430291"/>
                        <a:pt x="81413" y="412332"/>
                        <a:pt x="72553" y="388387"/>
                      </a:cubicBezTo>
                      <a:lnTo>
                        <a:pt x="0" y="197067"/>
                      </a:lnTo>
                      <a:lnTo>
                        <a:pt x="519845" y="0"/>
                      </a:lnTo>
                      <a:lnTo>
                        <a:pt x="585933" y="174319"/>
                      </a:lnTo>
                      <a:close/>
                    </a:path>
                  </a:pathLst>
                </a:custGeom>
                <a:solidFill>
                  <a:srgbClr val="96999E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21ABC579-FE3F-5E0E-D4B5-CFAD9CF34A54}"/>
                    </a:ext>
                  </a:extLst>
                </p:cNvPr>
                <p:cNvSpPr/>
                <p:nvPr/>
              </p:nvSpPr>
              <p:spPr>
                <a:xfrm>
                  <a:off x="5428980" y="2834475"/>
                  <a:ext cx="596783" cy="456630"/>
                </a:xfrm>
                <a:custGeom>
                  <a:avLst/>
                  <a:gdLst>
                    <a:gd name="connsiteX0" fmla="*/ 255253 w 596783"/>
                    <a:gd name="connsiteY0" fmla="*/ 456630 h 456630"/>
                    <a:gd name="connsiteX1" fmla="*/ 129782 w 596783"/>
                    <a:gd name="connsiteY1" fmla="*/ 442024 h 456630"/>
                    <a:gd name="connsiteX2" fmla="*/ 73511 w 596783"/>
                    <a:gd name="connsiteY2" fmla="*/ 393176 h 456630"/>
                    <a:gd name="connsiteX3" fmla="*/ 0 w 596783"/>
                    <a:gd name="connsiteY3" fmla="*/ 199222 h 456630"/>
                    <a:gd name="connsiteX4" fmla="*/ 524634 w 596783"/>
                    <a:gd name="connsiteY4" fmla="*/ 0 h 456630"/>
                    <a:gd name="connsiteX5" fmla="*/ 591680 w 596783"/>
                    <a:gd name="connsiteY5" fmla="*/ 176714 h 456630"/>
                    <a:gd name="connsiteX6" fmla="*/ 585215 w 596783"/>
                    <a:gd name="connsiteY6" fmla="*/ 245915 h 456630"/>
                    <a:gd name="connsiteX7" fmla="*/ 395810 w 596783"/>
                    <a:gd name="connsiteY7" fmla="*/ 426939 h 456630"/>
                    <a:gd name="connsiteX8" fmla="*/ 255014 w 596783"/>
                    <a:gd name="connsiteY8" fmla="*/ 456630 h 456630"/>
                    <a:gd name="connsiteX9" fmla="*/ 6465 w 596783"/>
                    <a:gd name="connsiteY9" fmla="*/ 202095 h 456630"/>
                    <a:gd name="connsiteX10" fmla="*/ 78061 w 596783"/>
                    <a:gd name="connsiteY10" fmla="*/ 391021 h 456630"/>
                    <a:gd name="connsiteX11" fmla="*/ 130740 w 596783"/>
                    <a:gd name="connsiteY11" fmla="*/ 436756 h 456630"/>
                    <a:gd name="connsiteX12" fmla="*/ 393655 w 596783"/>
                    <a:gd name="connsiteY12" fmla="*/ 422150 h 456630"/>
                    <a:gd name="connsiteX13" fmla="*/ 580666 w 596783"/>
                    <a:gd name="connsiteY13" fmla="*/ 243281 h 456630"/>
                    <a:gd name="connsiteX14" fmla="*/ 586652 w 596783"/>
                    <a:gd name="connsiteY14" fmla="*/ 178629 h 456630"/>
                    <a:gd name="connsiteX15" fmla="*/ 521521 w 596783"/>
                    <a:gd name="connsiteY15" fmla="*/ 6705 h 456630"/>
                    <a:gd name="connsiteX16" fmla="*/ 6465 w 596783"/>
                    <a:gd name="connsiteY16" fmla="*/ 202095 h 456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96783" h="456630">
                      <a:moveTo>
                        <a:pt x="255253" y="456630"/>
                      </a:moveTo>
                      <a:cubicBezTo>
                        <a:pt x="210237" y="456630"/>
                        <a:pt x="166178" y="449926"/>
                        <a:pt x="129782" y="442024"/>
                      </a:cubicBezTo>
                      <a:cubicBezTo>
                        <a:pt x="103921" y="436277"/>
                        <a:pt x="82850" y="418079"/>
                        <a:pt x="73511" y="393176"/>
                      </a:cubicBezTo>
                      <a:lnTo>
                        <a:pt x="0" y="199222"/>
                      </a:lnTo>
                      <a:lnTo>
                        <a:pt x="524634" y="0"/>
                      </a:lnTo>
                      <a:lnTo>
                        <a:pt x="591680" y="176714"/>
                      </a:lnTo>
                      <a:cubicBezTo>
                        <a:pt x="600300" y="199701"/>
                        <a:pt x="597906" y="224843"/>
                        <a:pt x="585215" y="245915"/>
                      </a:cubicBezTo>
                      <a:cubicBezTo>
                        <a:pt x="546664" y="308651"/>
                        <a:pt x="482731" y="390782"/>
                        <a:pt x="395810" y="426939"/>
                      </a:cubicBezTo>
                      <a:cubicBezTo>
                        <a:pt x="352949" y="448968"/>
                        <a:pt x="303383" y="456630"/>
                        <a:pt x="255014" y="456630"/>
                      </a:cubicBezTo>
                      <a:close/>
                      <a:moveTo>
                        <a:pt x="6465" y="202095"/>
                      </a:moveTo>
                      <a:lnTo>
                        <a:pt x="78061" y="391021"/>
                      </a:lnTo>
                      <a:cubicBezTo>
                        <a:pt x="86920" y="414248"/>
                        <a:pt x="106555" y="431488"/>
                        <a:pt x="130740" y="436756"/>
                      </a:cubicBezTo>
                      <a:cubicBezTo>
                        <a:pt x="205687" y="453278"/>
                        <a:pt x="312003" y="464053"/>
                        <a:pt x="393655" y="422150"/>
                      </a:cubicBezTo>
                      <a:cubicBezTo>
                        <a:pt x="479378" y="386472"/>
                        <a:pt x="542593" y="305298"/>
                        <a:pt x="580666" y="243281"/>
                      </a:cubicBezTo>
                      <a:cubicBezTo>
                        <a:pt x="592638" y="223646"/>
                        <a:pt x="594793" y="200180"/>
                        <a:pt x="586652" y="178629"/>
                      </a:cubicBezTo>
                      <a:lnTo>
                        <a:pt x="521521" y="6705"/>
                      </a:lnTo>
                      <a:lnTo>
                        <a:pt x="6465" y="202095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D0D2743C-CA32-95BD-BDCC-72244452E69F}"/>
                  </a:ext>
                </a:extLst>
              </p:cNvPr>
              <p:cNvSpPr/>
              <p:nvPr/>
            </p:nvSpPr>
            <p:spPr>
              <a:xfrm>
                <a:off x="5295367" y="3027950"/>
                <a:ext cx="453996" cy="110386"/>
              </a:xfrm>
              <a:custGeom>
                <a:avLst/>
                <a:gdLst>
                  <a:gd name="connsiteX0" fmla="*/ 448010 w 453996"/>
                  <a:gd name="connsiteY0" fmla="*/ 91949 h 110386"/>
                  <a:gd name="connsiteX1" fmla="*/ 453997 w 453996"/>
                  <a:gd name="connsiteY1" fmla="*/ 110386 h 110386"/>
                  <a:gd name="connsiteX2" fmla="*/ 6226 w 453996"/>
                  <a:gd name="connsiteY2" fmla="*/ 18677 h 110386"/>
                  <a:gd name="connsiteX3" fmla="*/ 0 w 453996"/>
                  <a:gd name="connsiteY3" fmla="*/ 0 h 110386"/>
                  <a:gd name="connsiteX4" fmla="*/ 448010 w 453996"/>
                  <a:gd name="connsiteY4" fmla="*/ 91949 h 11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996" h="110386">
                    <a:moveTo>
                      <a:pt x="448010" y="91949"/>
                    </a:moveTo>
                    <a:lnTo>
                      <a:pt x="453997" y="110386"/>
                    </a:lnTo>
                    <a:lnTo>
                      <a:pt x="6226" y="18677"/>
                    </a:lnTo>
                    <a:lnTo>
                      <a:pt x="0" y="0"/>
                    </a:lnTo>
                    <a:lnTo>
                      <a:pt x="448010" y="91949"/>
                    </a:ln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97" name="Graphic 141">
                <a:extLst>
                  <a:ext uri="{FF2B5EF4-FFF2-40B4-BE49-F238E27FC236}">
                    <a16:creationId xmlns:a16="http://schemas.microsoft.com/office/drawing/2014/main" id="{D3DDE3A9-0559-F749-CF24-1316FBE8ED16}"/>
                  </a:ext>
                </a:extLst>
              </p:cNvPr>
              <p:cNvGrpSpPr/>
              <p:nvPr/>
            </p:nvGrpSpPr>
            <p:grpSpPr>
              <a:xfrm>
                <a:off x="5290339" y="2683143"/>
                <a:ext cx="761449" cy="439629"/>
                <a:chOff x="5290339" y="2683143"/>
                <a:chExt cx="761449" cy="439629"/>
              </a:xfrm>
            </p:grpSpPr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4DFF4728-E673-0601-6D98-925C95376813}"/>
                    </a:ext>
                  </a:extLst>
                </p:cNvPr>
                <p:cNvSpPr/>
                <p:nvPr/>
              </p:nvSpPr>
              <p:spPr>
                <a:xfrm>
                  <a:off x="5295367" y="2686016"/>
                  <a:ext cx="751393" cy="433882"/>
                </a:xfrm>
                <a:custGeom>
                  <a:avLst/>
                  <a:gdLst>
                    <a:gd name="connsiteX0" fmla="*/ 751393 w 751393"/>
                    <a:gd name="connsiteY0" fmla="*/ 91709 h 433882"/>
                    <a:gd name="connsiteX1" fmla="*/ 448010 w 751393"/>
                    <a:gd name="connsiteY1" fmla="*/ 433883 h 433882"/>
                    <a:gd name="connsiteX2" fmla="*/ 0 w 751393"/>
                    <a:gd name="connsiteY2" fmla="*/ 341934 h 433882"/>
                    <a:gd name="connsiteX3" fmla="*/ 303383 w 751393"/>
                    <a:gd name="connsiteY3" fmla="*/ 0 h 433882"/>
                    <a:gd name="connsiteX4" fmla="*/ 751393 w 751393"/>
                    <a:gd name="connsiteY4" fmla="*/ 91709 h 433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393" h="433882">
                      <a:moveTo>
                        <a:pt x="751393" y="91709"/>
                      </a:moveTo>
                      <a:lnTo>
                        <a:pt x="448010" y="433883"/>
                      </a:lnTo>
                      <a:lnTo>
                        <a:pt x="0" y="341934"/>
                      </a:lnTo>
                      <a:lnTo>
                        <a:pt x="303383" y="0"/>
                      </a:lnTo>
                      <a:lnTo>
                        <a:pt x="751393" y="91709"/>
                      </a:lnTo>
                      <a:close/>
                    </a:path>
                  </a:pathLst>
                </a:custGeom>
                <a:solidFill>
                  <a:srgbClr val="96999E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8D6A1563-49F6-2048-60A7-457CF8FB2B58}"/>
                    </a:ext>
                  </a:extLst>
                </p:cNvPr>
                <p:cNvSpPr/>
                <p:nvPr/>
              </p:nvSpPr>
              <p:spPr>
                <a:xfrm>
                  <a:off x="5290339" y="2683143"/>
                  <a:ext cx="761449" cy="439629"/>
                </a:xfrm>
                <a:custGeom>
                  <a:avLst/>
                  <a:gdLst>
                    <a:gd name="connsiteX0" fmla="*/ 453997 w 761449"/>
                    <a:gd name="connsiteY0" fmla="*/ 439630 h 439629"/>
                    <a:gd name="connsiteX1" fmla="*/ 452560 w 761449"/>
                    <a:gd name="connsiteY1" fmla="*/ 439630 h 439629"/>
                    <a:gd name="connsiteX2" fmla="*/ 0 w 761449"/>
                    <a:gd name="connsiteY2" fmla="*/ 346484 h 439629"/>
                    <a:gd name="connsiteX3" fmla="*/ 3113 w 761449"/>
                    <a:gd name="connsiteY3" fmla="*/ 343131 h 439629"/>
                    <a:gd name="connsiteX4" fmla="*/ 307453 w 761449"/>
                    <a:gd name="connsiteY4" fmla="*/ 0 h 439629"/>
                    <a:gd name="connsiteX5" fmla="*/ 308890 w 761449"/>
                    <a:gd name="connsiteY5" fmla="*/ 0 h 439629"/>
                    <a:gd name="connsiteX6" fmla="*/ 761450 w 761449"/>
                    <a:gd name="connsiteY6" fmla="*/ 92906 h 439629"/>
                    <a:gd name="connsiteX7" fmla="*/ 758337 w 761449"/>
                    <a:gd name="connsiteY7" fmla="*/ 96259 h 439629"/>
                    <a:gd name="connsiteX8" fmla="*/ 453997 w 761449"/>
                    <a:gd name="connsiteY8" fmla="*/ 439390 h 439629"/>
                    <a:gd name="connsiteX9" fmla="*/ 10057 w 761449"/>
                    <a:gd name="connsiteY9" fmla="*/ 343131 h 439629"/>
                    <a:gd name="connsiteX10" fmla="*/ 452081 w 761449"/>
                    <a:gd name="connsiteY10" fmla="*/ 433643 h 439629"/>
                    <a:gd name="connsiteX11" fmla="*/ 751393 w 761449"/>
                    <a:gd name="connsiteY11" fmla="*/ 96259 h 439629"/>
                    <a:gd name="connsiteX12" fmla="*/ 309369 w 761449"/>
                    <a:gd name="connsiteY12" fmla="*/ 5747 h 439629"/>
                    <a:gd name="connsiteX13" fmla="*/ 10057 w 761449"/>
                    <a:gd name="connsiteY13" fmla="*/ 343131 h 439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61449" h="439629">
                      <a:moveTo>
                        <a:pt x="453997" y="439630"/>
                      </a:moveTo>
                      <a:lnTo>
                        <a:pt x="452560" y="439630"/>
                      </a:lnTo>
                      <a:lnTo>
                        <a:pt x="0" y="346484"/>
                      </a:lnTo>
                      <a:lnTo>
                        <a:pt x="3113" y="343131"/>
                      </a:lnTo>
                      <a:lnTo>
                        <a:pt x="307453" y="0"/>
                      </a:lnTo>
                      <a:lnTo>
                        <a:pt x="308890" y="0"/>
                      </a:lnTo>
                      <a:lnTo>
                        <a:pt x="761450" y="92906"/>
                      </a:lnTo>
                      <a:lnTo>
                        <a:pt x="758337" y="96259"/>
                      </a:lnTo>
                      <a:lnTo>
                        <a:pt x="453997" y="439390"/>
                      </a:lnTo>
                      <a:close/>
                      <a:moveTo>
                        <a:pt x="10057" y="343131"/>
                      </a:moveTo>
                      <a:lnTo>
                        <a:pt x="452081" y="433643"/>
                      </a:lnTo>
                      <a:lnTo>
                        <a:pt x="751393" y="96259"/>
                      </a:lnTo>
                      <a:lnTo>
                        <a:pt x="309369" y="5747"/>
                      </a:lnTo>
                      <a:lnTo>
                        <a:pt x="10057" y="343131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189FE47-74C4-2615-4B22-BD58D10350D2}"/>
                  </a:ext>
                </a:extLst>
              </p:cNvPr>
              <p:cNvSpPr/>
              <p:nvPr/>
            </p:nvSpPr>
            <p:spPr>
              <a:xfrm>
                <a:off x="5743377" y="2777725"/>
                <a:ext cx="309608" cy="360611"/>
              </a:xfrm>
              <a:custGeom>
                <a:avLst/>
                <a:gdLst>
                  <a:gd name="connsiteX0" fmla="*/ 303383 w 309608"/>
                  <a:gd name="connsiteY0" fmla="*/ 0 h 360611"/>
                  <a:gd name="connsiteX1" fmla="*/ 309608 w 309608"/>
                  <a:gd name="connsiteY1" fmla="*/ 18677 h 360611"/>
                  <a:gd name="connsiteX2" fmla="*/ 5986 w 309608"/>
                  <a:gd name="connsiteY2" fmla="*/ 360611 h 360611"/>
                  <a:gd name="connsiteX3" fmla="*/ 0 w 309608"/>
                  <a:gd name="connsiteY3" fmla="*/ 342174 h 360611"/>
                  <a:gd name="connsiteX4" fmla="*/ 303383 w 309608"/>
                  <a:gd name="connsiteY4" fmla="*/ 0 h 360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08" h="360611">
                    <a:moveTo>
                      <a:pt x="303383" y="0"/>
                    </a:moveTo>
                    <a:lnTo>
                      <a:pt x="309608" y="18677"/>
                    </a:lnTo>
                    <a:lnTo>
                      <a:pt x="5986" y="360611"/>
                    </a:lnTo>
                    <a:lnTo>
                      <a:pt x="0" y="342174"/>
                    </a:lnTo>
                    <a:lnTo>
                      <a:pt x="303383" y="0"/>
                    </a:ln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C33A2842-A9C1-C377-789F-5185B769863F}"/>
                  </a:ext>
                </a:extLst>
              </p:cNvPr>
              <p:cNvSpPr/>
              <p:nvPr/>
            </p:nvSpPr>
            <p:spPr>
              <a:xfrm>
                <a:off x="5635008" y="2875659"/>
                <a:ext cx="70195" cy="45017"/>
              </a:xfrm>
              <a:custGeom>
                <a:avLst/>
                <a:gdLst>
                  <a:gd name="connsiteX0" fmla="*/ 28632 w 70195"/>
                  <a:gd name="connsiteY0" fmla="*/ 3113 h 45017"/>
                  <a:gd name="connsiteX1" fmla="*/ 69578 w 70195"/>
                  <a:gd name="connsiteY1" fmla="*/ 11015 h 45017"/>
                  <a:gd name="connsiteX2" fmla="*/ 41563 w 70195"/>
                  <a:gd name="connsiteY2" fmla="*/ 41904 h 45017"/>
                  <a:gd name="connsiteX3" fmla="*/ 617 w 70195"/>
                  <a:gd name="connsiteY3" fmla="*/ 34002 h 45017"/>
                  <a:gd name="connsiteX4" fmla="*/ 28632 w 70195"/>
                  <a:gd name="connsiteY4" fmla="*/ 3113 h 4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195" h="45017">
                    <a:moveTo>
                      <a:pt x="28632" y="3113"/>
                    </a:moveTo>
                    <a:cubicBezTo>
                      <a:pt x="47788" y="-3112"/>
                      <a:pt x="65987" y="240"/>
                      <a:pt x="69578" y="11015"/>
                    </a:cubicBezTo>
                    <a:cubicBezTo>
                      <a:pt x="73170" y="21790"/>
                      <a:pt x="60719" y="35679"/>
                      <a:pt x="41563" y="41904"/>
                    </a:cubicBezTo>
                    <a:cubicBezTo>
                      <a:pt x="22407" y="48130"/>
                      <a:pt x="4209" y="44778"/>
                      <a:pt x="617" y="34002"/>
                    </a:cubicBezTo>
                    <a:cubicBezTo>
                      <a:pt x="-2975" y="23227"/>
                      <a:pt x="9477" y="9339"/>
                      <a:pt x="28632" y="3113"/>
                    </a:cubicBez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1812E6F6-5301-8CFB-8098-49E776827B5C}"/>
                  </a:ext>
                </a:extLst>
              </p:cNvPr>
              <p:cNvGrpSpPr/>
              <p:nvPr>
                <p:custDataLst>
                  <p:tags r:id="rId11"/>
                </p:custDataLst>
              </p:nvPr>
            </p:nvGrpSpPr>
            <p:grpSpPr>
              <a:xfrm>
                <a:off x="5488598" y="2892661"/>
                <a:ext cx="191085" cy="431727"/>
                <a:chOff x="5488598" y="2892661"/>
                <a:chExt cx="191085" cy="431727"/>
              </a:xfrm>
            </p:grpSpPr>
            <p:grpSp>
              <p:nvGrpSpPr>
                <p:cNvPr id="101" name="Graphic 141">
                  <a:extLst>
                    <a:ext uri="{FF2B5EF4-FFF2-40B4-BE49-F238E27FC236}">
                      <a16:creationId xmlns:a16="http://schemas.microsoft.com/office/drawing/2014/main" id="{7308C6C9-7DE3-266F-69DF-FEA51CDE2BCB}"/>
                    </a:ext>
                  </a:extLst>
                </p:cNvPr>
                <p:cNvGrpSpPr/>
                <p:nvPr/>
              </p:nvGrpSpPr>
              <p:grpSpPr>
                <a:xfrm>
                  <a:off x="5496744" y="2892661"/>
                  <a:ext cx="182939" cy="392457"/>
                  <a:chOff x="5496744" y="2892661"/>
                  <a:chExt cx="182939" cy="392457"/>
                </a:xfrm>
              </p:grpSpPr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7F421B9A-ADEF-C0D9-1DD8-7D2322358BDB}"/>
                      </a:ext>
                    </a:extLst>
                  </p:cNvPr>
                  <p:cNvSpPr/>
                  <p:nvPr/>
                </p:nvSpPr>
                <p:spPr>
                  <a:xfrm>
                    <a:off x="5499378" y="2896253"/>
                    <a:ext cx="176474" cy="384795"/>
                  </a:xfrm>
                  <a:custGeom>
                    <a:avLst/>
                    <a:gdLst>
                      <a:gd name="connsiteX0" fmla="*/ 176474 w 176474"/>
                      <a:gd name="connsiteY0" fmla="*/ 10536 h 384795"/>
                      <a:gd name="connsiteX1" fmla="*/ 20353 w 176474"/>
                      <a:gd name="connsiteY1" fmla="*/ 194673 h 384795"/>
                      <a:gd name="connsiteX2" fmla="*/ 17001 w 176474"/>
                      <a:gd name="connsiteY2" fmla="*/ 379049 h 384795"/>
                      <a:gd name="connsiteX3" fmla="*/ 2155 w 176474"/>
                      <a:gd name="connsiteY3" fmla="*/ 384796 h 384795"/>
                      <a:gd name="connsiteX4" fmla="*/ 0 w 176474"/>
                      <a:gd name="connsiteY4" fmla="*/ 188447 h 384795"/>
                      <a:gd name="connsiteX5" fmla="*/ 164502 w 176474"/>
                      <a:gd name="connsiteY5" fmla="*/ 0 h 384795"/>
                      <a:gd name="connsiteX6" fmla="*/ 176474 w 176474"/>
                      <a:gd name="connsiteY6" fmla="*/ 10536 h 384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76474" h="384795">
                        <a:moveTo>
                          <a:pt x="176474" y="10536"/>
                        </a:moveTo>
                        <a:lnTo>
                          <a:pt x="20353" y="194673"/>
                        </a:lnTo>
                        <a:lnTo>
                          <a:pt x="17001" y="379049"/>
                        </a:lnTo>
                        <a:lnTo>
                          <a:pt x="2155" y="384796"/>
                        </a:lnTo>
                        <a:lnTo>
                          <a:pt x="0" y="188447"/>
                        </a:lnTo>
                        <a:lnTo>
                          <a:pt x="164502" y="0"/>
                        </a:lnTo>
                        <a:lnTo>
                          <a:pt x="176474" y="10536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FDEB6F94-07C0-7758-CC4F-0DE22A93B2F7}"/>
                      </a:ext>
                    </a:extLst>
                  </p:cNvPr>
                  <p:cNvSpPr/>
                  <p:nvPr/>
                </p:nvSpPr>
                <p:spPr>
                  <a:xfrm>
                    <a:off x="5496744" y="2892661"/>
                    <a:ext cx="182939" cy="392457"/>
                  </a:xfrm>
                  <a:custGeom>
                    <a:avLst/>
                    <a:gdLst>
                      <a:gd name="connsiteX0" fmla="*/ 2155 w 182939"/>
                      <a:gd name="connsiteY0" fmla="*/ 392218 h 392457"/>
                      <a:gd name="connsiteX1" fmla="*/ 0 w 182939"/>
                      <a:gd name="connsiteY1" fmla="*/ 191081 h 392457"/>
                      <a:gd name="connsiteX2" fmla="*/ 718 w 182939"/>
                      <a:gd name="connsiteY2" fmla="*/ 190362 h 392457"/>
                      <a:gd name="connsiteX3" fmla="*/ 166896 w 182939"/>
                      <a:gd name="connsiteY3" fmla="*/ 0 h 392457"/>
                      <a:gd name="connsiteX4" fmla="*/ 182940 w 182939"/>
                      <a:gd name="connsiteY4" fmla="*/ 13888 h 392457"/>
                      <a:gd name="connsiteX5" fmla="*/ 181263 w 182939"/>
                      <a:gd name="connsiteY5" fmla="*/ 15804 h 392457"/>
                      <a:gd name="connsiteX6" fmla="*/ 25621 w 182939"/>
                      <a:gd name="connsiteY6" fmla="*/ 199462 h 392457"/>
                      <a:gd name="connsiteX7" fmla="*/ 22269 w 182939"/>
                      <a:gd name="connsiteY7" fmla="*/ 384556 h 392457"/>
                      <a:gd name="connsiteX8" fmla="*/ 2155 w 182939"/>
                      <a:gd name="connsiteY8" fmla="*/ 392458 h 392457"/>
                      <a:gd name="connsiteX9" fmla="*/ 5268 w 182939"/>
                      <a:gd name="connsiteY9" fmla="*/ 192996 h 392457"/>
                      <a:gd name="connsiteX10" fmla="*/ 7423 w 182939"/>
                      <a:gd name="connsiteY10" fmla="*/ 384556 h 392457"/>
                      <a:gd name="connsiteX11" fmla="*/ 17001 w 182939"/>
                      <a:gd name="connsiteY11" fmla="*/ 380725 h 392457"/>
                      <a:gd name="connsiteX12" fmla="*/ 20353 w 182939"/>
                      <a:gd name="connsiteY12" fmla="*/ 197306 h 392457"/>
                      <a:gd name="connsiteX13" fmla="*/ 175517 w 182939"/>
                      <a:gd name="connsiteY13" fmla="*/ 14128 h 392457"/>
                      <a:gd name="connsiteX14" fmla="*/ 167375 w 182939"/>
                      <a:gd name="connsiteY14" fmla="*/ 7183 h 392457"/>
                      <a:gd name="connsiteX15" fmla="*/ 5268 w 182939"/>
                      <a:gd name="connsiteY15" fmla="*/ 192996 h 392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82939" h="392457">
                        <a:moveTo>
                          <a:pt x="2155" y="392218"/>
                        </a:moveTo>
                        <a:lnTo>
                          <a:pt x="0" y="191081"/>
                        </a:lnTo>
                        <a:lnTo>
                          <a:pt x="718" y="190362"/>
                        </a:lnTo>
                        <a:lnTo>
                          <a:pt x="166896" y="0"/>
                        </a:lnTo>
                        <a:lnTo>
                          <a:pt x="182940" y="13888"/>
                        </a:lnTo>
                        <a:lnTo>
                          <a:pt x="181263" y="15804"/>
                        </a:lnTo>
                        <a:lnTo>
                          <a:pt x="25621" y="199462"/>
                        </a:lnTo>
                        <a:lnTo>
                          <a:pt x="22269" y="384556"/>
                        </a:lnTo>
                        <a:lnTo>
                          <a:pt x="2155" y="392458"/>
                        </a:lnTo>
                        <a:close/>
                        <a:moveTo>
                          <a:pt x="5268" y="192996"/>
                        </a:moveTo>
                        <a:lnTo>
                          <a:pt x="7423" y="384556"/>
                        </a:lnTo>
                        <a:lnTo>
                          <a:pt x="17001" y="380725"/>
                        </a:lnTo>
                        <a:lnTo>
                          <a:pt x="20353" y="197306"/>
                        </a:lnTo>
                        <a:lnTo>
                          <a:pt x="175517" y="14128"/>
                        </a:lnTo>
                        <a:lnTo>
                          <a:pt x="167375" y="7183"/>
                        </a:lnTo>
                        <a:lnTo>
                          <a:pt x="5268" y="192996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02" name="Graphic 141">
                  <a:extLst>
                    <a:ext uri="{FF2B5EF4-FFF2-40B4-BE49-F238E27FC236}">
                      <a16:creationId xmlns:a16="http://schemas.microsoft.com/office/drawing/2014/main" id="{929CEC94-ADC5-927B-16B7-012F3E98E445}"/>
                    </a:ext>
                  </a:extLst>
                </p:cNvPr>
                <p:cNvGrpSpPr/>
                <p:nvPr/>
              </p:nvGrpSpPr>
              <p:grpSpPr>
                <a:xfrm>
                  <a:off x="5488598" y="3261413"/>
                  <a:ext cx="40950" cy="62975"/>
                  <a:chOff x="5488598" y="3261413"/>
                  <a:chExt cx="40950" cy="62975"/>
                </a:xfrm>
              </p:grpSpPr>
              <p:sp>
                <p:nvSpPr>
                  <p:cNvPr id="103" name="Freeform: Shape 102">
                    <a:extLst>
                      <a:ext uri="{FF2B5EF4-FFF2-40B4-BE49-F238E27FC236}">
                        <a16:creationId xmlns:a16="http://schemas.microsoft.com/office/drawing/2014/main" id="{FABA1003-488A-2723-1869-1B6AAEED17D5}"/>
                      </a:ext>
                    </a:extLst>
                  </p:cNvPr>
                  <p:cNvSpPr/>
                  <p:nvPr/>
                </p:nvSpPr>
                <p:spPr>
                  <a:xfrm>
                    <a:off x="5490997" y="3264287"/>
                    <a:ext cx="35917" cy="57715"/>
                  </a:xfrm>
                  <a:custGeom>
                    <a:avLst/>
                    <a:gdLst>
                      <a:gd name="connsiteX0" fmla="*/ 8141 w 35917"/>
                      <a:gd name="connsiteY0" fmla="*/ 6944 h 57715"/>
                      <a:gd name="connsiteX1" fmla="*/ 18917 w 35917"/>
                      <a:gd name="connsiteY1" fmla="*/ 0 h 57715"/>
                      <a:gd name="connsiteX2" fmla="*/ 29452 w 35917"/>
                      <a:gd name="connsiteY2" fmla="*/ 7423 h 57715"/>
                      <a:gd name="connsiteX3" fmla="*/ 35917 w 35917"/>
                      <a:gd name="connsiteY3" fmla="*/ 46214 h 57715"/>
                      <a:gd name="connsiteX4" fmla="*/ 17719 w 35917"/>
                      <a:gd name="connsiteY4" fmla="*/ 57707 h 57715"/>
                      <a:gd name="connsiteX5" fmla="*/ 0 w 35917"/>
                      <a:gd name="connsiteY5" fmla="*/ 45495 h 57715"/>
                      <a:gd name="connsiteX6" fmla="*/ 479 w 35917"/>
                      <a:gd name="connsiteY6" fmla="*/ 42861 h 57715"/>
                      <a:gd name="connsiteX7" fmla="*/ 7902 w 35917"/>
                      <a:gd name="connsiteY7" fmla="*/ 7183 h 57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5917" h="57715">
                        <a:moveTo>
                          <a:pt x="8141" y="6944"/>
                        </a:moveTo>
                        <a:cubicBezTo>
                          <a:pt x="8141" y="3113"/>
                          <a:pt x="13170" y="0"/>
                          <a:pt x="18917" y="0"/>
                        </a:cubicBezTo>
                        <a:cubicBezTo>
                          <a:pt x="24903" y="0"/>
                          <a:pt x="29452" y="3352"/>
                          <a:pt x="29452" y="7423"/>
                        </a:cubicBezTo>
                        <a:lnTo>
                          <a:pt x="35917" y="46214"/>
                        </a:lnTo>
                        <a:cubicBezTo>
                          <a:pt x="35917" y="52679"/>
                          <a:pt x="27776" y="57947"/>
                          <a:pt x="17719" y="57707"/>
                        </a:cubicBezTo>
                        <a:cubicBezTo>
                          <a:pt x="7902" y="57707"/>
                          <a:pt x="0" y="51961"/>
                          <a:pt x="0" y="45495"/>
                        </a:cubicBezTo>
                        <a:cubicBezTo>
                          <a:pt x="0" y="44538"/>
                          <a:pt x="0" y="43819"/>
                          <a:pt x="479" y="42861"/>
                        </a:cubicBezTo>
                        <a:lnTo>
                          <a:pt x="7902" y="7183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4" name="Freeform: Shape 103">
                    <a:extLst>
                      <a:ext uri="{FF2B5EF4-FFF2-40B4-BE49-F238E27FC236}">
                        <a16:creationId xmlns:a16="http://schemas.microsoft.com/office/drawing/2014/main" id="{22D213BA-AD8B-03E0-7C4C-B3AFC223FE00}"/>
                      </a:ext>
                    </a:extLst>
                  </p:cNvPr>
                  <p:cNvSpPr/>
                  <p:nvPr/>
                </p:nvSpPr>
                <p:spPr>
                  <a:xfrm>
                    <a:off x="5488598" y="3261413"/>
                    <a:ext cx="40950" cy="62975"/>
                  </a:xfrm>
                  <a:custGeom>
                    <a:avLst/>
                    <a:gdLst>
                      <a:gd name="connsiteX0" fmla="*/ 20837 w 40950"/>
                      <a:gd name="connsiteY0" fmla="*/ 62975 h 62975"/>
                      <a:gd name="connsiteX1" fmla="*/ 20119 w 40950"/>
                      <a:gd name="connsiteY1" fmla="*/ 62975 h 62975"/>
                      <a:gd name="connsiteX2" fmla="*/ 5 w 40950"/>
                      <a:gd name="connsiteY2" fmla="*/ 48129 h 62975"/>
                      <a:gd name="connsiteX3" fmla="*/ 723 w 40950"/>
                      <a:gd name="connsiteY3" fmla="*/ 44538 h 62975"/>
                      <a:gd name="connsiteX4" fmla="*/ 7907 w 40950"/>
                      <a:gd name="connsiteY4" fmla="*/ 9339 h 62975"/>
                      <a:gd name="connsiteX5" fmla="*/ 21076 w 40950"/>
                      <a:gd name="connsiteY5" fmla="*/ 0 h 62975"/>
                      <a:gd name="connsiteX6" fmla="*/ 21555 w 40950"/>
                      <a:gd name="connsiteY6" fmla="*/ 0 h 62975"/>
                      <a:gd name="connsiteX7" fmla="*/ 32091 w 40950"/>
                      <a:gd name="connsiteY7" fmla="*/ 4071 h 62975"/>
                      <a:gd name="connsiteX8" fmla="*/ 34486 w 40950"/>
                      <a:gd name="connsiteY8" fmla="*/ 10057 h 62975"/>
                      <a:gd name="connsiteX9" fmla="*/ 40951 w 40950"/>
                      <a:gd name="connsiteY9" fmla="*/ 48129 h 62975"/>
                      <a:gd name="connsiteX10" fmla="*/ 20837 w 40950"/>
                      <a:gd name="connsiteY10" fmla="*/ 62736 h 62975"/>
                      <a:gd name="connsiteX11" fmla="*/ 20837 w 40950"/>
                      <a:gd name="connsiteY11" fmla="*/ 5507 h 62975"/>
                      <a:gd name="connsiteX12" fmla="*/ 12935 w 40950"/>
                      <a:gd name="connsiteY12" fmla="*/ 9817 h 62975"/>
                      <a:gd name="connsiteX13" fmla="*/ 12935 w 40950"/>
                      <a:gd name="connsiteY13" fmla="*/ 10296 h 62975"/>
                      <a:gd name="connsiteX14" fmla="*/ 5512 w 40950"/>
                      <a:gd name="connsiteY14" fmla="*/ 45974 h 62975"/>
                      <a:gd name="connsiteX15" fmla="*/ 5033 w 40950"/>
                      <a:gd name="connsiteY15" fmla="*/ 48129 h 62975"/>
                      <a:gd name="connsiteX16" fmla="*/ 20119 w 40950"/>
                      <a:gd name="connsiteY16" fmla="*/ 57707 h 62975"/>
                      <a:gd name="connsiteX17" fmla="*/ 35443 w 40950"/>
                      <a:gd name="connsiteY17" fmla="*/ 48848 h 62975"/>
                      <a:gd name="connsiteX18" fmla="*/ 28978 w 40950"/>
                      <a:gd name="connsiteY18" fmla="*/ 10775 h 62975"/>
                      <a:gd name="connsiteX19" fmla="*/ 28020 w 40950"/>
                      <a:gd name="connsiteY19" fmla="*/ 8141 h 62975"/>
                      <a:gd name="connsiteX20" fmla="*/ 21076 w 40950"/>
                      <a:gd name="connsiteY20" fmla="*/ 5507 h 62975"/>
                      <a:gd name="connsiteX21" fmla="*/ 20837 w 40950"/>
                      <a:gd name="connsiteY21" fmla="*/ 5507 h 629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40950" h="62975">
                        <a:moveTo>
                          <a:pt x="20837" y="62975"/>
                        </a:moveTo>
                        <a:lnTo>
                          <a:pt x="20119" y="62975"/>
                        </a:lnTo>
                        <a:cubicBezTo>
                          <a:pt x="8625" y="62975"/>
                          <a:pt x="-235" y="56271"/>
                          <a:pt x="5" y="48129"/>
                        </a:cubicBezTo>
                        <a:cubicBezTo>
                          <a:pt x="5" y="46932"/>
                          <a:pt x="244" y="45735"/>
                          <a:pt x="723" y="44538"/>
                        </a:cubicBezTo>
                        <a:lnTo>
                          <a:pt x="7907" y="9339"/>
                        </a:lnTo>
                        <a:cubicBezTo>
                          <a:pt x="8146" y="4071"/>
                          <a:pt x="13893" y="0"/>
                          <a:pt x="21076" y="0"/>
                        </a:cubicBezTo>
                        <a:lnTo>
                          <a:pt x="21555" y="0"/>
                        </a:lnTo>
                        <a:cubicBezTo>
                          <a:pt x="25865" y="0"/>
                          <a:pt x="29697" y="1676"/>
                          <a:pt x="32091" y="4071"/>
                        </a:cubicBezTo>
                        <a:cubicBezTo>
                          <a:pt x="33767" y="5747"/>
                          <a:pt x="34486" y="7902"/>
                          <a:pt x="34486" y="10057"/>
                        </a:cubicBezTo>
                        <a:lnTo>
                          <a:pt x="40951" y="48129"/>
                        </a:lnTo>
                        <a:cubicBezTo>
                          <a:pt x="40951" y="56510"/>
                          <a:pt x="32091" y="62736"/>
                          <a:pt x="20837" y="62736"/>
                        </a:cubicBezTo>
                        <a:close/>
                        <a:moveTo>
                          <a:pt x="20837" y="5507"/>
                        </a:moveTo>
                        <a:cubicBezTo>
                          <a:pt x="16287" y="5507"/>
                          <a:pt x="12935" y="7662"/>
                          <a:pt x="12935" y="9817"/>
                        </a:cubicBezTo>
                        <a:lnTo>
                          <a:pt x="12935" y="10296"/>
                        </a:lnTo>
                        <a:lnTo>
                          <a:pt x="5512" y="45974"/>
                        </a:lnTo>
                        <a:cubicBezTo>
                          <a:pt x="5512" y="45974"/>
                          <a:pt x="5033" y="47650"/>
                          <a:pt x="5033" y="48129"/>
                        </a:cubicBezTo>
                        <a:cubicBezTo>
                          <a:pt x="5033" y="53158"/>
                          <a:pt x="11738" y="57468"/>
                          <a:pt x="20119" y="57707"/>
                        </a:cubicBezTo>
                        <a:cubicBezTo>
                          <a:pt x="28260" y="58186"/>
                          <a:pt x="35443" y="53876"/>
                          <a:pt x="35443" y="48848"/>
                        </a:cubicBezTo>
                        <a:lnTo>
                          <a:pt x="28978" y="10775"/>
                        </a:lnTo>
                        <a:cubicBezTo>
                          <a:pt x="28978" y="9578"/>
                          <a:pt x="28739" y="8860"/>
                          <a:pt x="28020" y="8141"/>
                        </a:cubicBezTo>
                        <a:cubicBezTo>
                          <a:pt x="26584" y="6705"/>
                          <a:pt x="23950" y="5747"/>
                          <a:pt x="21076" y="5507"/>
                        </a:cubicBezTo>
                        <a:lnTo>
                          <a:pt x="20837" y="5507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</p:grpSp>
      </p:grpSp>
      <p:sp>
        <p:nvSpPr>
          <p:cNvPr id="154" name="Footer Placeholder 7">
            <a:extLst>
              <a:ext uri="{FF2B5EF4-FFF2-40B4-BE49-F238E27FC236}">
                <a16:creationId xmlns:a16="http://schemas.microsoft.com/office/drawing/2014/main" id="{144EF61C-636E-7B9C-CF0A-ABC87D990751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>
          <a:xfrm>
            <a:off x="5880100" y="6381329"/>
            <a:ext cx="4680000" cy="216024"/>
          </a:xfrm>
        </p:spPr>
        <p:txBody>
          <a:bodyPr/>
          <a:lstStyle/>
          <a:p>
            <a:r>
              <a:rPr lang="de-DE"/>
              <a:t>Schulung Verpackungsprozess Kaufland Eigenmarke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A1F3DD-6EC4-6366-AD5B-0E9B038112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43B15C8-972D-49F6-9B7C-5A2154A8C95F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78" name="Date Placeholder 5">
            <a:extLst>
              <a:ext uri="{FF2B5EF4-FFF2-40B4-BE49-F238E27FC236}">
                <a16:creationId xmlns:a16="http://schemas.microsoft.com/office/drawing/2014/main" id="{4D590167-3D04-4AE0-A5DC-C7C05631E84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632504" y="6381328"/>
            <a:ext cx="720000" cy="216024"/>
          </a:xfrm>
        </p:spPr>
        <p:txBody>
          <a:bodyPr/>
          <a:lstStyle/>
          <a:p>
            <a:r>
              <a:rPr lang="en-US"/>
              <a:t>|  10.10.2022 |</a:t>
            </a:r>
            <a:endParaRPr lang="de-DE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53FA04E0-4796-4918-BF2F-99E1469B5804}"/>
              </a:ext>
            </a:extLst>
          </p:cNvPr>
          <p:cNvSpPr txBox="1"/>
          <p:nvPr/>
        </p:nvSpPr>
        <p:spPr bwMode="gray">
          <a:xfrm>
            <a:off x="7443748" y="3065319"/>
            <a:ext cx="4194375" cy="1272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b="1">
                <a:solidFill>
                  <a:schemeClr val="bg1"/>
                </a:solidFill>
              </a:rPr>
              <a:t>Bitte achten Sie auf eindeutige Formulierungen in den Korrekturen! 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400" b="1">
                <a:solidFill>
                  <a:schemeClr val="bg1"/>
                </a:solidFill>
              </a:rPr>
              <a:t>Offene Fragen sind zwingend vor der Weiterleitung an Kaufland mit dem Prüfinstitut zu klären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86CC469-BDBD-6DE6-2C1A-284F5F26F496}"/>
              </a:ext>
            </a:extLst>
          </p:cNvPr>
          <p:cNvSpPr txBox="1"/>
          <p:nvPr/>
        </p:nvSpPr>
        <p:spPr bwMode="gray">
          <a:xfrm>
            <a:off x="7945767" y="279323"/>
            <a:ext cx="3060093" cy="35007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</a:pPr>
            <a:r>
              <a:rPr lang="de-DE" sz="2000" b="1" dirty="0">
                <a:solidFill>
                  <a:srgbClr val="FF0000"/>
                </a:solidFill>
              </a:rPr>
              <a:t>English </a:t>
            </a:r>
            <a:r>
              <a:rPr lang="de-DE" sz="2000" b="1" dirty="0" err="1">
                <a:solidFill>
                  <a:srgbClr val="FF0000"/>
                </a:solidFill>
              </a:rPr>
              <a:t>version</a:t>
            </a:r>
            <a:r>
              <a:rPr lang="de-DE" sz="2000" b="1" dirty="0">
                <a:solidFill>
                  <a:srgbClr val="FF0000"/>
                </a:solidFill>
              </a:rPr>
              <a:t> on </a:t>
            </a:r>
            <a:r>
              <a:rPr lang="de-DE" sz="2000" b="1" dirty="0" err="1">
                <a:solidFill>
                  <a:srgbClr val="FF0000"/>
                </a:solidFill>
              </a:rPr>
              <a:t>page</a:t>
            </a:r>
            <a:r>
              <a:rPr lang="de-DE" sz="2000" b="1" dirty="0">
                <a:solidFill>
                  <a:srgbClr val="FF0000"/>
                </a:solidFill>
              </a:rPr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06328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hteck 15">
            <a:extLst>
              <a:ext uri="{FF2B5EF4-FFF2-40B4-BE49-F238E27FC236}">
                <a16:creationId xmlns:a16="http://schemas.microsoft.com/office/drawing/2014/main" id="{251D21EF-56D1-A797-2417-6A5F73BE7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7504722" y="0"/>
            <a:ext cx="4687278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79E8452-EB6F-55B4-3307-2463778FD60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7231251" y="2674478"/>
            <a:ext cx="4519377" cy="1960103"/>
            <a:chOff x="8091950" y="3322595"/>
            <a:chExt cx="2516814" cy="215838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1BF48F95-BEBC-6063-2C38-C4B369659E3B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 flipH="1">
              <a:off x="8091950" y="3448780"/>
              <a:ext cx="2483528" cy="2032203"/>
            </a:xfrm>
            <a:custGeom>
              <a:avLst/>
              <a:gdLst>
                <a:gd name="connsiteX0" fmla="*/ 2396694 w 2483528"/>
                <a:gd name="connsiteY0" fmla="*/ 0 h 2032203"/>
                <a:gd name="connsiteX1" fmla="*/ 1797440 w 2483528"/>
                <a:gd name="connsiteY1" fmla="*/ 0 h 2032203"/>
                <a:gd name="connsiteX2" fmla="*/ 1675335 w 2483528"/>
                <a:gd name="connsiteY2" fmla="*/ 0 h 2032203"/>
                <a:gd name="connsiteX3" fmla="*/ 1407447 w 2483528"/>
                <a:gd name="connsiteY3" fmla="*/ 0 h 2032203"/>
                <a:gd name="connsiteX4" fmla="*/ 1076081 w 2483528"/>
                <a:gd name="connsiteY4" fmla="*/ 0 h 2032203"/>
                <a:gd name="connsiteX5" fmla="*/ 808193 w 2483528"/>
                <a:gd name="connsiteY5" fmla="*/ 0 h 2032203"/>
                <a:gd name="connsiteX6" fmla="*/ 686088 w 2483528"/>
                <a:gd name="connsiteY6" fmla="*/ 0 h 2032203"/>
                <a:gd name="connsiteX7" fmla="*/ 86834 w 2483528"/>
                <a:gd name="connsiteY7" fmla="*/ 0 h 2032203"/>
                <a:gd name="connsiteX8" fmla="*/ 0 w 2483528"/>
                <a:gd name="connsiteY8" fmla="*/ 86834 h 2032203"/>
                <a:gd name="connsiteX9" fmla="*/ 0 w 2483528"/>
                <a:gd name="connsiteY9" fmla="*/ 408138 h 2032203"/>
                <a:gd name="connsiteX10" fmla="*/ 0 w 2483528"/>
                <a:gd name="connsiteY10" fmla="*/ 413963 h 2032203"/>
                <a:gd name="connsiteX11" fmla="*/ 0 w 2483528"/>
                <a:gd name="connsiteY11" fmla="*/ 434164 h 2032203"/>
                <a:gd name="connsiteX12" fmla="*/ 0 w 2483528"/>
                <a:gd name="connsiteY12" fmla="*/ 520998 h 2032203"/>
                <a:gd name="connsiteX13" fmla="*/ 0 w 2483528"/>
                <a:gd name="connsiteY13" fmla="*/ 617359 h 2032203"/>
                <a:gd name="connsiteX14" fmla="*/ 0 w 2483528"/>
                <a:gd name="connsiteY14" fmla="*/ 735267 h 2032203"/>
                <a:gd name="connsiteX15" fmla="*/ 0 w 2483528"/>
                <a:gd name="connsiteY15" fmla="*/ 740385 h 2032203"/>
                <a:gd name="connsiteX16" fmla="*/ 0 w 2483528"/>
                <a:gd name="connsiteY16" fmla="*/ 761293 h 2032203"/>
                <a:gd name="connsiteX17" fmla="*/ 0 w 2483528"/>
                <a:gd name="connsiteY17" fmla="*/ 848127 h 2032203"/>
                <a:gd name="connsiteX18" fmla="*/ 0 w 2483528"/>
                <a:gd name="connsiteY18" fmla="*/ 938663 h 2032203"/>
                <a:gd name="connsiteX19" fmla="*/ 0 w 2483528"/>
                <a:gd name="connsiteY19" fmla="*/ 944488 h 2032203"/>
                <a:gd name="connsiteX20" fmla="*/ 0 w 2483528"/>
                <a:gd name="connsiteY20" fmla="*/ 964689 h 2032203"/>
                <a:gd name="connsiteX21" fmla="*/ 0 w 2483528"/>
                <a:gd name="connsiteY21" fmla="*/ 1051523 h 2032203"/>
                <a:gd name="connsiteX22" fmla="*/ 0 w 2483528"/>
                <a:gd name="connsiteY22" fmla="*/ 1061689 h 2032203"/>
                <a:gd name="connsiteX23" fmla="*/ 0 w 2483528"/>
                <a:gd name="connsiteY23" fmla="*/ 1067514 h 2032203"/>
                <a:gd name="connsiteX24" fmla="*/ 0 w 2483528"/>
                <a:gd name="connsiteY24" fmla="*/ 1087715 h 2032203"/>
                <a:gd name="connsiteX25" fmla="*/ 0 w 2483528"/>
                <a:gd name="connsiteY25" fmla="*/ 1174549 h 2032203"/>
                <a:gd name="connsiteX26" fmla="*/ 0 w 2483528"/>
                <a:gd name="connsiteY26" fmla="*/ 1265792 h 2032203"/>
                <a:gd name="connsiteX27" fmla="*/ 0 w 2483528"/>
                <a:gd name="connsiteY27" fmla="*/ 1270910 h 2032203"/>
                <a:gd name="connsiteX28" fmla="*/ 0 w 2483528"/>
                <a:gd name="connsiteY28" fmla="*/ 1291818 h 2032203"/>
                <a:gd name="connsiteX29" fmla="*/ 0 w 2483528"/>
                <a:gd name="connsiteY29" fmla="*/ 1378652 h 2032203"/>
                <a:gd name="connsiteX30" fmla="*/ 0 w 2483528"/>
                <a:gd name="connsiteY30" fmla="*/ 1388818 h 2032203"/>
                <a:gd name="connsiteX31" fmla="*/ 0 w 2483528"/>
                <a:gd name="connsiteY31" fmla="*/ 1414844 h 2032203"/>
                <a:gd name="connsiteX32" fmla="*/ 0 w 2483528"/>
                <a:gd name="connsiteY32" fmla="*/ 1501678 h 2032203"/>
                <a:gd name="connsiteX33" fmla="*/ 0 w 2483528"/>
                <a:gd name="connsiteY33" fmla="*/ 1592214 h 2032203"/>
                <a:gd name="connsiteX34" fmla="*/ 0 w 2483528"/>
                <a:gd name="connsiteY34" fmla="*/ 1598039 h 2032203"/>
                <a:gd name="connsiteX35" fmla="*/ 0 w 2483528"/>
                <a:gd name="connsiteY35" fmla="*/ 1618240 h 2032203"/>
                <a:gd name="connsiteX36" fmla="*/ 0 w 2483528"/>
                <a:gd name="connsiteY36" fmla="*/ 1705074 h 2032203"/>
                <a:gd name="connsiteX37" fmla="*/ 0 w 2483528"/>
                <a:gd name="connsiteY37" fmla="*/ 1919343 h 2032203"/>
                <a:gd name="connsiteX38" fmla="*/ 0 w 2483528"/>
                <a:gd name="connsiteY38" fmla="*/ 1945369 h 2032203"/>
                <a:gd name="connsiteX39" fmla="*/ 0 w 2483528"/>
                <a:gd name="connsiteY39" fmla="*/ 2032203 h 2032203"/>
                <a:gd name="connsiteX40" fmla="*/ 86834 w 2483528"/>
                <a:gd name="connsiteY40" fmla="*/ 2032203 h 2032203"/>
                <a:gd name="connsiteX41" fmla="*/ 403131 w 2483528"/>
                <a:gd name="connsiteY41" fmla="*/ 2032203 h 2032203"/>
                <a:gd name="connsiteX42" fmla="*/ 599254 w 2483528"/>
                <a:gd name="connsiteY42" fmla="*/ 2032203 h 2032203"/>
                <a:gd name="connsiteX43" fmla="*/ 686088 w 2483528"/>
                <a:gd name="connsiteY43" fmla="*/ 2032203 h 2032203"/>
                <a:gd name="connsiteX44" fmla="*/ 721359 w 2483528"/>
                <a:gd name="connsiteY44" fmla="*/ 2032203 h 2032203"/>
                <a:gd name="connsiteX45" fmla="*/ 808193 w 2483528"/>
                <a:gd name="connsiteY45" fmla="*/ 2032203 h 2032203"/>
                <a:gd name="connsiteX46" fmla="*/ 1002385 w 2483528"/>
                <a:gd name="connsiteY46" fmla="*/ 2032203 h 2032203"/>
                <a:gd name="connsiteX47" fmla="*/ 1076081 w 2483528"/>
                <a:gd name="connsiteY47" fmla="*/ 2032203 h 2032203"/>
                <a:gd name="connsiteX48" fmla="*/ 1124490 w 2483528"/>
                <a:gd name="connsiteY48" fmla="*/ 2032203 h 2032203"/>
                <a:gd name="connsiteX49" fmla="*/ 1320613 w 2483528"/>
                <a:gd name="connsiteY49" fmla="*/ 2032203 h 2032203"/>
                <a:gd name="connsiteX50" fmla="*/ 1407447 w 2483528"/>
                <a:gd name="connsiteY50" fmla="*/ 2032203 h 2032203"/>
                <a:gd name="connsiteX51" fmla="*/ 1675335 w 2483528"/>
                <a:gd name="connsiteY51" fmla="*/ 2032203 h 2032203"/>
                <a:gd name="connsiteX52" fmla="*/ 1723744 w 2483528"/>
                <a:gd name="connsiteY52" fmla="*/ 2032203 h 2032203"/>
                <a:gd name="connsiteX53" fmla="*/ 1797440 w 2483528"/>
                <a:gd name="connsiteY53" fmla="*/ 2032203 h 2032203"/>
                <a:gd name="connsiteX54" fmla="*/ 2396694 w 2483528"/>
                <a:gd name="connsiteY54" fmla="*/ 2032203 h 2032203"/>
                <a:gd name="connsiteX55" fmla="*/ 2483528 w 2483528"/>
                <a:gd name="connsiteY55" fmla="*/ 1945369 h 2032203"/>
                <a:gd name="connsiteX56" fmla="*/ 2483528 w 2483528"/>
                <a:gd name="connsiteY56" fmla="*/ 1618240 h 2032203"/>
                <a:gd name="connsiteX57" fmla="*/ 2483528 w 2483528"/>
                <a:gd name="connsiteY57" fmla="*/ 1598039 h 2032203"/>
                <a:gd name="connsiteX58" fmla="*/ 2483528 w 2483528"/>
                <a:gd name="connsiteY58" fmla="*/ 1414844 h 2032203"/>
                <a:gd name="connsiteX59" fmla="*/ 2483528 w 2483528"/>
                <a:gd name="connsiteY59" fmla="*/ 1291818 h 2032203"/>
                <a:gd name="connsiteX60" fmla="*/ 2483528 w 2483528"/>
                <a:gd name="connsiteY60" fmla="*/ 1270910 h 2032203"/>
                <a:gd name="connsiteX61" fmla="*/ 2483528 w 2483528"/>
                <a:gd name="connsiteY61" fmla="*/ 1087715 h 2032203"/>
                <a:gd name="connsiteX62" fmla="*/ 2483528 w 2483528"/>
                <a:gd name="connsiteY62" fmla="*/ 1067514 h 2032203"/>
                <a:gd name="connsiteX63" fmla="*/ 2483528 w 2483528"/>
                <a:gd name="connsiteY63" fmla="*/ 964689 h 2032203"/>
                <a:gd name="connsiteX64" fmla="*/ 2483528 w 2483528"/>
                <a:gd name="connsiteY64" fmla="*/ 944488 h 2032203"/>
                <a:gd name="connsiteX65" fmla="*/ 2483528 w 2483528"/>
                <a:gd name="connsiteY65" fmla="*/ 761293 h 2032203"/>
                <a:gd name="connsiteX66" fmla="*/ 2483528 w 2483528"/>
                <a:gd name="connsiteY66" fmla="*/ 740385 h 2032203"/>
                <a:gd name="connsiteX67" fmla="*/ 2483528 w 2483528"/>
                <a:gd name="connsiteY67" fmla="*/ 617359 h 2032203"/>
                <a:gd name="connsiteX68" fmla="*/ 2483528 w 2483528"/>
                <a:gd name="connsiteY68" fmla="*/ 434164 h 2032203"/>
                <a:gd name="connsiteX69" fmla="*/ 2483528 w 2483528"/>
                <a:gd name="connsiteY69" fmla="*/ 413963 h 2032203"/>
                <a:gd name="connsiteX70" fmla="*/ 2483528 w 2483528"/>
                <a:gd name="connsiteY70" fmla="*/ 86834 h 2032203"/>
                <a:gd name="connsiteX71" fmla="*/ 2396694 w 2483528"/>
                <a:gd name="connsiteY71" fmla="*/ 0 h 203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483528" h="2032203">
                  <a:moveTo>
                    <a:pt x="2396694" y="0"/>
                  </a:moveTo>
                  <a:lnTo>
                    <a:pt x="1797440" y="0"/>
                  </a:lnTo>
                  <a:lnTo>
                    <a:pt x="1675335" y="0"/>
                  </a:lnTo>
                  <a:lnTo>
                    <a:pt x="1407447" y="0"/>
                  </a:lnTo>
                  <a:lnTo>
                    <a:pt x="1076081" y="0"/>
                  </a:lnTo>
                  <a:lnTo>
                    <a:pt x="808193" y="0"/>
                  </a:lnTo>
                  <a:lnTo>
                    <a:pt x="686088" y="0"/>
                  </a:lnTo>
                  <a:lnTo>
                    <a:pt x="86834" y="0"/>
                  </a:lnTo>
                  <a:cubicBezTo>
                    <a:pt x="38877" y="0"/>
                    <a:pt x="0" y="38877"/>
                    <a:pt x="0" y="86834"/>
                  </a:cubicBezTo>
                  <a:lnTo>
                    <a:pt x="0" y="408138"/>
                  </a:lnTo>
                  <a:lnTo>
                    <a:pt x="0" y="413963"/>
                  </a:lnTo>
                  <a:lnTo>
                    <a:pt x="0" y="434164"/>
                  </a:lnTo>
                  <a:lnTo>
                    <a:pt x="0" y="520998"/>
                  </a:lnTo>
                  <a:lnTo>
                    <a:pt x="0" y="617359"/>
                  </a:lnTo>
                  <a:lnTo>
                    <a:pt x="0" y="735267"/>
                  </a:lnTo>
                  <a:lnTo>
                    <a:pt x="0" y="740385"/>
                  </a:lnTo>
                  <a:lnTo>
                    <a:pt x="0" y="761293"/>
                  </a:lnTo>
                  <a:lnTo>
                    <a:pt x="0" y="848127"/>
                  </a:lnTo>
                  <a:lnTo>
                    <a:pt x="0" y="938663"/>
                  </a:lnTo>
                  <a:lnTo>
                    <a:pt x="0" y="944488"/>
                  </a:lnTo>
                  <a:lnTo>
                    <a:pt x="0" y="964689"/>
                  </a:lnTo>
                  <a:lnTo>
                    <a:pt x="0" y="1051523"/>
                  </a:lnTo>
                  <a:lnTo>
                    <a:pt x="0" y="1061689"/>
                  </a:lnTo>
                  <a:lnTo>
                    <a:pt x="0" y="1067514"/>
                  </a:lnTo>
                  <a:lnTo>
                    <a:pt x="0" y="1087715"/>
                  </a:lnTo>
                  <a:lnTo>
                    <a:pt x="0" y="1174549"/>
                  </a:lnTo>
                  <a:lnTo>
                    <a:pt x="0" y="1265792"/>
                  </a:lnTo>
                  <a:lnTo>
                    <a:pt x="0" y="1270910"/>
                  </a:lnTo>
                  <a:lnTo>
                    <a:pt x="0" y="1291818"/>
                  </a:lnTo>
                  <a:lnTo>
                    <a:pt x="0" y="1378652"/>
                  </a:lnTo>
                  <a:lnTo>
                    <a:pt x="0" y="1388818"/>
                  </a:lnTo>
                  <a:lnTo>
                    <a:pt x="0" y="1414844"/>
                  </a:lnTo>
                  <a:lnTo>
                    <a:pt x="0" y="1501678"/>
                  </a:lnTo>
                  <a:lnTo>
                    <a:pt x="0" y="1592214"/>
                  </a:lnTo>
                  <a:lnTo>
                    <a:pt x="0" y="1598039"/>
                  </a:lnTo>
                  <a:lnTo>
                    <a:pt x="0" y="1618240"/>
                  </a:lnTo>
                  <a:lnTo>
                    <a:pt x="0" y="1705074"/>
                  </a:lnTo>
                  <a:lnTo>
                    <a:pt x="0" y="1919343"/>
                  </a:lnTo>
                  <a:lnTo>
                    <a:pt x="0" y="1945369"/>
                  </a:lnTo>
                  <a:lnTo>
                    <a:pt x="0" y="2032203"/>
                  </a:lnTo>
                  <a:lnTo>
                    <a:pt x="86834" y="2032203"/>
                  </a:lnTo>
                  <a:lnTo>
                    <a:pt x="403131" y="2032203"/>
                  </a:lnTo>
                  <a:lnTo>
                    <a:pt x="599254" y="2032203"/>
                  </a:lnTo>
                  <a:lnTo>
                    <a:pt x="686088" y="2032203"/>
                  </a:lnTo>
                  <a:lnTo>
                    <a:pt x="721359" y="2032203"/>
                  </a:lnTo>
                  <a:lnTo>
                    <a:pt x="808193" y="2032203"/>
                  </a:lnTo>
                  <a:lnTo>
                    <a:pt x="1002385" y="2032203"/>
                  </a:lnTo>
                  <a:lnTo>
                    <a:pt x="1076081" y="2032203"/>
                  </a:lnTo>
                  <a:lnTo>
                    <a:pt x="1124490" y="2032203"/>
                  </a:lnTo>
                  <a:lnTo>
                    <a:pt x="1320613" y="2032203"/>
                  </a:lnTo>
                  <a:lnTo>
                    <a:pt x="1407447" y="2032203"/>
                  </a:lnTo>
                  <a:lnTo>
                    <a:pt x="1675335" y="2032203"/>
                  </a:lnTo>
                  <a:lnTo>
                    <a:pt x="1723744" y="2032203"/>
                  </a:lnTo>
                  <a:lnTo>
                    <a:pt x="1797440" y="2032203"/>
                  </a:lnTo>
                  <a:lnTo>
                    <a:pt x="2396694" y="2032203"/>
                  </a:lnTo>
                  <a:cubicBezTo>
                    <a:pt x="2444651" y="2032203"/>
                    <a:pt x="2483528" y="1993326"/>
                    <a:pt x="2483528" y="1945369"/>
                  </a:cubicBezTo>
                  <a:lnTo>
                    <a:pt x="2483528" y="1618240"/>
                  </a:lnTo>
                  <a:lnTo>
                    <a:pt x="2483528" y="1598039"/>
                  </a:lnTo>
                  <a:lnTo>
                    <a:pt x="2483528" y="1414844"/>
                  </a:lnTo>
                  <a:lnTo>
                    <a:pt x="2483528" y="1291818"/>
                  </a:lnTo>
                  <a:lnTo>
                    <a:pt x="2483528" y="1270910"/>
                  </a:lnTo>
                  <a:lnTo>
                    <a:pt x="2483528" y="1087715"/>
                  </a:lnTo>
                  <a:lnTo>
                    <a:pt x="2483528" y="1067514"/>
                  </a:lnTo>
                  <a:lnTo>
                    <a:pt x="2483528" y="964689"/>
                  </a:lnTo>
                  <a:lnTo>
                    <a:pt x="2483528" y="944488"/>
                  </a:lnTo>
                  <a:lnTo>
                    <a:pt x="2483528" y="761293"/>
                  </a:lnTo>
                  <a:lnTo>
                    <a:pt x="2483528" y="740385"/>
                  </a:lnTo>
                  <a:lnTo>
                    <a:pt x="2483528" y="617359"/>
                  </a:lnTo>
                  <a:lnTo>
                    <a:pt x="2483528" y="434164"/>
                  </a:lnTo>
                  <a:lnTo>
                    <a:pt x="2483528" y="413963"/>
                  </a:lnTo>
                  <a:lnTo>
                    <a:pt x="2483528" y="86834"/>
                  </a:lnTo>
                  <a:cubicBezTo>
                    <a:pt x="2483528" y="38877"/>
                    <a:pt x="2444651" y="0"/>
                    <a:pt x="2396694" y="0"/>
                  </a:cubicBezTo>
                  <a:close/>
                </a:path>
              </a:pathLst>
            </a:cu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de-DE" sz="1200" b="1">
                <a:solidFill>
                  <a:schemeClr val="bg1"/>
                </a:solidFill>
              </a:endParaRPr>
            </a:p>
          </p:txBody>
        </p:sp>
        <p:sp>
          <p:nvSpPr>
            <p:cNvPr id="84" name="Rechteck 21">
              <a:extLst>
                <a:ext uri="{FF2B5EF4-FFF2-40B4-BE49-F238E27FC236}">
                  <a16:creationId xmlns:a16="http://schemas.microsoft.com/office/drawing/2014/main" id="{6253221C-3EB7-ADAE-0DA3-99445E058239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8195783" y="3865551"/>
              <a:ext cx="2233411" cy="1429949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5750" indent="-285750">
                <a:lnSpc>
                  <a:spcPct val="8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endParaRPr lang="de-DE" sz="1400" b="1">
                <a:solidFill>
                  <a:schemeClr val="bg1"/>
                </a:solidFill>
              </a:endParaRPr>
            </a:p>
          </p:txBody>
        </p:sp>
        <p:sp>
          <p:nvSpPr>
            <p:cNvPr id="85" name="Textfeld 5">
              <a:extLst>
                <a:ext uri="{FF2B5EF4-FFF2-40B4-BE49-F238E27FC236}">
                  <a16:creationId xmlns:a16="http://schemas.microsoft.com/office/drawing/2014/main" id="{15C1EB9A-07AB-D2F5-CF05-48089A8C9CD1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0376568" y="3322595"/>
              <a:ext cx="232196" cy="9745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</a:pPr>
              <a:r>
                <a:rPr lang="en-GB" sz="7200" b="1">
                  <a:solidFill>
                    <a:schemeClr val="accent6"/>
                  </a:solidFill>
                </a:rPr>
                <a:t>!</a:t>
              </a:r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08961F8-B9BC-42E0-A6D1-9308EBF354E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532" imgH="530" progId="TCLayout.ActiveDocument.1">
                  <p:embed/>
                </p:oleObj>
              </mc:Choice>
              <mc:Fallback>
                <p:oleObj name="think-cell Folie" r:id="rId26" imgW="532" imgH="53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08961F8-B9BC-42E0-A6D1-9308EBF35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C53E47F-1D9E-D1D4-6633-573CCFA003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594F461-6DFD-D0EE-4A37-68E44B08DF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1E1736E-6BD7-CB0B-1D22-EBA8E09114D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GB" dirty="0"/>
              <a:t>Addendum: Test institute – marketability review</a:t>
            </a:r>
          </a:p>
        </p:txBody>
      </p:sp>
      <p:sp>
        <p:nvSpPr>
          <p:cNvPr id="19" name="Rechteck 66">
            <a:extLst>
              <a:ext uri="{FF2B5EF4-FFF2-40B4-BE49-F238E27FC236}">
                <a16:creationId xmlns:a16="http://schemas.microsoft.com/office/drawing/2014/main" id="{DBDB5D56-E9FF-9C30-EEF9-22185C645F3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07516" y="1342399"/>
            <a:ext cx="6471642" cy="4724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</a:rPr>
              <a:t>International articles must be reviewed by a test institute. (</a:t>
            </a:r>
            <a:r>
              <a:rPr lang="en-US" sz="1400" dirty="0">
                <a:solidFill>
                  <a:schemeClr val="tx1"/>
                </a:solidFill>
              </a:rPr>
              <a:t>One-time check in the first correction loop is sufficient, afterwards you can ensure the correct implementation of the changes by yourself)</a:t>
            </a:r>
            <a:endParaRPr lang="en-GB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</a:rPr>
              <a:t>To minimize the number of correction loops, the review by you and your test institute takes place when the layout is first prepared.</a:t>
            </a:r>
          </a:p>
          <a:p>
            <a:pPr defTabSz="269875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</a:pPr>
            <a:r>
              <a:rPr lang="en-GB" sz="1400" dirty="0">
                <a:solidFill>
                  <a:schemeClr val="tx1"/>
                </a:solidFill>
              </a:rPr>
              <a:t>	Please pool the corrections by the test institute and your corrections in the first correction step and pass these on to Kaufland</a:t>
            </a:r>
          </a:p>
          <a:p>
            <a:pPr defTabSz="269875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</a:pPr>
            <a:r>
              <a:rPr lang="en-GB" sz="1400" dirty="0">
                <a:solidFill>
                  <a:schemeClr val="tx1"/>
                </a:solidFill>
              </a:rPr>
              <a:t>	</a:t>
            </a:r>
            <a:r>
              <a:rPr lang="en-GB" sz="1400" b="1" dirty="0">
                <a:solidFill>
                  <a:schemeClr val="tx1"/>
                </a:solidFill>
              </a:rPr>
              <a:t>No correction round takes place before transfer to the test institute!</a:t>
            </a:r>
          </a:p>
          <a:p>
            <a:pPr marL="285750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</a:rPr>
              <a:t>You review the test institute’s test report and only pass on your desired corrections to Kaufland. You do so by transferring the corrections in the </a:t>
            </a:r>
            <a:r>
              <a:rPr lang="en-GB" sz="1400" dirty="0" err="1">
                <a:solidFill>
                  <a:schemeClr val="tx1"/>
                </a:solidFill>
              </a:rPr>
              <a:t>Dalim</a:t>
            </a:r>
            <a:r>
              <a:rPr lang="en-GB" sz="1400" dirty="0">
                <a:solidFill>
                  <a:schemeClr val="tx1"/>
                </a:solidFill>
              </a:rPr>
              <a:t> Viewer in Wave. You also enter your own corrections in the </a:t>
            </a:r>
            <a:r>
              <a:rPr lang="en-GB" sz="1400" dirty="0" err="1">
                <a:solidFill>
                  <a:schemeClr val="tx1"/>
                </a:solidFill>
              </a:rPr>
              <a:t>Dalim</a:t>
            </a:r>
            <a:r>
              <a:rPr lang="en-GB" sz="1400" dirty="0">
                <a:solidFill>
                  <a:schemeClr val="tx1"/>
                </a:solidFill>
              </a:rPr>
              <a:t> Viewer in Wave.</a:t>
            </a:r>
          </a:p>
          <a:p>
            <a:pPr marL="285750" indent="-285750">
              <a:lnSpc>
                <a:spcPct val="85000"/>
              </a:lnSpc>
              <a:spcBef>
                <a:spcPts val="12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</a:rPr>
              <a:t>The APL (Approval Loop) in Wave gives you three options for confirming the review: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rgbClr val="33CC33"/>
                </a:solidFill>
              </a:rPr>
              <a:t>Green:</a:t>
            </a:r>
            <a:r>
              <a:rPr lang="en-GB" sz="1400" dirty="0">
                <a:solidFill>
                  <a:schemeClr val="tx1"/>
                </a:solidFill>
              </a:rPr>
              <a:t> no corrections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rgbClr val="F99D1C"/>
                </a:solidFill>
              </a:rPr>
              <a:t>Orange:</a:t>
            </a:r>
            <a:r>
              <a:rPr lang="en-GB" sz="1400" dirty="0">
                <a:solidFill>
                  <a:schemeClr val="tx1"/>
                </a:solidFill>
              </a:rPr>
              <a:t> minor corrections that need to be implemented according to the review report for the marketability to apply (no further review by the test institute necessary)</a:t>
            </a:r>
          </a:p>
          <a:p>
            <a:pPr marL="742939" lvl="1" indent="-285750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accent4"/>
                </a:solidFill>
              </a:rPr>
              <a:t>Red:</a:t>
            </a:r>
            <a:r>
              <a:rPr lang="en-GB" sz="1400" dirty="0">
                <a:solidFill>
                  <a:schemeClr val="tx1"/>
                </a:solidFill>
              </a:rPr>
              <a:t> major corrections, the article is “not marketable” according to the review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2481473-E32C-6A76-8DAA-E7AC6E28E63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 flipH="1">
            <a:off x="10655235" y="4358422"/>
            <a:ext cx="1222920" cy="2235094"/>
            <a:chOff x="3968750" y="1707750"/>
            <a:chExt cx="950048" cy="1736373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773630AD-B611-0DAB-64D1-74F859E942D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356930" y="3231335"/>
              <a:ext cx="367470" cy="212788"/>
            </a:xfrm>
            <a:custGeom>
              <a:avLst/>
              <a:gdLst>
                <a:gd name="connsiteX0" fmla="*/ 496796 w 578799"/>
                <a:gd name="connsiteY0" fmla="*/ 51129 h 335162"/>
                <a:gd name="connsiteX1" fmla="*/ 87725 w 578799"/>
                <a:gd name="connsiteY1" fmla="*/ 47077 h 335162"/>
                <a:gd name="connsiteX2" fmla="*/ 82004 w 578799"/>
                <a:gd name="connsiteY2" fmla="*/ 284033 h 335162"/>
                <a:gd name="connsiteX3" fmla="*/ 491075 w 578799"/>
                <a:gd name="connsiteY3" fmla="*/ 288085 h 335162"/>
                <a:gd name="connsiteX4" fmla="*/ 496796 w 578799"/>
                <a:gd name="connsiteY4" fmla="*/ 51129 h 33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799" h="335162">
                  <a:moveTo>
                    <a:pt x="496796" y="51129"/>
                  </a:moveTo>
                  <a:cubicBezTo>
                    <a:pt x="385470" y="-15380"/>
                    <a:pt x="202151" y="-17287"/>
                    <a:pt x="87725" y="47077"/>
                  </a:cubicBezTo>
                  <a:cubicBezTo>
                    <a:pt x="-26939" y="111441"/>
                    <a:pt x="-29561" y="217523"/>
                    <a:pt x="82004" y="284033"/>
                  </a:cubicBezTo>
                  <a:cubicBezTo>
                    <a:pt x="193330" y="350543"/>
                    <a:pt x="376649" y="352450"/>
                    <a:pt x="491075" y="288085"/>
                  </a:cubicBezTo>
                  <a:cubicBezTo>
                    <a:pt x="605738" y="223721"/>
                    <a:pt x="608361" y="117639"/>
                    <a:pt x="496796" y="51129"/>
                  </a:cubicBezTo>
                  <a:close/>
                </a:path>
              </a:pathLst>
            </a:custGeom>
            <a:solidFill>
              <a:srgbClr val="DBE0E6">
                <a:alpha val="68000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AB24D8C-CAD4-128D-B5D1-E1CEA78F0F2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4162517" y="2027837"/>
              <a:ext cx="756281" cy="1155662"/>
              <a:chOff x="6448614" y="3176303"/>
              <a:chExt cx="998880" cy="1526374"/>
            </a:xfrm>
          </p:grpSpPr>
          <p:grpSp>
            <p:nvGrpSpPr>
              <p:cNvPr id="111" name="Graphic 2">
                <a:extLst>
                  <a:ext uri="{FF2B5EF4-FFF2-40B4-BE49-F238E27FC236}">
                    <a16:creationId xmlns:a16="http://schemas.microsoft.com/office/drawing/2014/main" id="{060E3C50-D00D-E6CC-2785-A61D5EF1CE13}"/>
                  </a:ext>
                </a:extLst>
              </p:cNvPr>
              <p:cNvGrpSpPr/>
              <p:nvPr/>
            </p:nvGrpSpPr>
            <p:grpSpPr>
              <a:xfrm>
                <a:off x="6640243" y="4244488"/>
                <a:ext cx="614172" cy="458189"/>
                <a:chOff x="3728441" y="3675410"/>
                <a:chExt cx="757791" cy="565332"/>
              </a:xfrm>
              <a:solidFill>
                <a:srgbClr val="3A3A3A"/>
              </a:solidFill>
            </p:grpSpPr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E5D24E38-4740-54FD-A7A1-28732B754A66}"/>
                    </a:ext>
                  </a:extLst>
                </p:cNvPr>
                <p:cNvSpPr/>
                <p:nvPr/>
              </p:nvSpPr>
              <p:spPr>
                <a:xfrm>
                  <a:off x="3732683" y="3943082"/>
                  <a:ext cx="753549" cy="297660"/>
                </a:xfrm>
                <a:custGeom>
                  <a:avLst/>
                  <a:gdLst>
                    <a:gd name="connsiteX0" fmla="*/ 0 w 753549"/>
                    <a:gd name="connsiteY0" fmla="*/ 15121 h 297660"/>
                    <a:gd name="connsiteX1" fmla="*/ 50405 w 753549"/>
                    <a:gd name="connsiteY1" fmla="*/ 154994 h 297660"/>
                    <a:gd name="connsiteX2" fmla="*/ 272605 w 753549"/>
                    <a:gd name="connsiteY2" fmla="*/ 287726 h 297660"/>
                    <a:gd name="connsiteX3" fmla="*/ 753549 w 753549"/>
                    <a:gd name="connsiteY3" fmla="*/ 0 h 297660"/>
                    <a:gd name="connsiteX4" fmla="*/ 0 w 753549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3549" h="297660">
                      <a:moveTo>
                        <a:pt x="0" y="15121"/>
                      </a:moveTo>
                      <a:cubicBezTo>
                        <a:pt x="840" y="29823"/>
                        <a:pt x="16802" y="109210"/>
                        <a:pt x="50405" y="154994"/>
                      </a:cubicBezTo>
                      <a:cubicBezTo>
                        <a:pt x="105850" y="230181"/>
                        <a:pt x="190698" y="270085"/>
                        <a:pt x="272605" y="287726"/>
                      </a:cubicBezTo>
                      <a:cubicBezTo>
                        <a:pt x="444821" y="325530"/>
                        <a:pt x="746829" y="260844"/>
                        <a:pt x="753549" y="0"/>
                      </a:cubicBezTo>
                      <a:cubicBezTo>
                        <a:pt x="569992" y="163395"/>
                        <a:pt x="154994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6414FD1A-B36B-63CD-2DA3-E09972EC4E62}"/>
                    </a:ext>
                  </a:extLst>
                </p:cNvPr>
                <p:cNvSpPr/>
                <p:nvPr/>
              </p:nvSpPr>
              <p:spPr>
                <a:xfrm>
                  <a:off x="3728441" y="3675410"/>
                  <a:ext cx="757265" cy="526861"/>
                </a:xfrm>
                <a:custGeom>
                  <a:avLst/>
                  <a:gdLst>
                    <a:gd name="connsiteX0" fmla="*/ 633879 w 757265"/>
                    <a:gd name="connsiteY0" fmla="*/ 46732 h 526861"/>
                    <a:gd name="connsiteX1" fmla="*/ 122272 w 757265"/>
                    <a:gd name="connsiteY1" fmla="*/ 51772 h 526861"/>
                    <a:gd name="connsiteX2" fmla="*/ 6762 w 757265"/>
                    <a:gd name="connsiteY2" fmla="*/ 298755 h 526861"/>
                    <a:gd name="connsiteX3" fmla="*/ 194939 w 757265"/>
                    <a:gd name="connsiteY3" fmla="*/ 494073 h 526861"/>
                    <a:gd name="connsiteX4" fmla="*/ 460403 w 757265"/>
                    <a:gd name="connsiteY4" fmla="*/ 520956 h 526861"/>
                    <a:gd name="connsiteX5" fmla="*/ 606997 w 757265"/>
                    <a:gd name="connsiteY5" fmla="*/ 475171 h 526861"/>
                    <a:gd name="connsiteX6" fmla="*/ 738469 w 757265"/>
                    <a:gd name="connsiteY6" fmla="*/ 351680 h 526861"/>
                    <a:gd name="connsiteX7" fmla="*/ 633459 w 757265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57265" h="526861">
                      <a:moveTo>
                        <a:pt x="633879" y="46732"/>
                      </a:moveTo>
                      <a:cubicBezTo>
                        <a:pt x="563733" y="13129"/>
                        <a:pt x="300789" y="-41476"/>
                        <a:pt x="122272" y="51772"/>
                      </a:cubicBezTo>
                      <a:cubicBezTo>
                        <a:pt x="65567" y="81175"/>
                        <a:pt x="-25581" y="139560"/>
                        <a:pt x="6762" y="298755"/>
                      </a:cubicBezTo>
                      <a:cubicBezTo>
                        <a:pt x="22303" y="374362"/>
                        <a:pt x="107151" y="449129"/>
                        <a:pt x="194939" y="494073"/>
                      </a:cubicBezTo>
                      <a:cubicBezTo>
                        <a:pt x="277266" y="536077"/>
                        <a:pt x="409999" y="528516"/>
                        <a:pt x="460403" y="520956"/>
                      </a:cubicBezTo>
                      <a:cubicBezTo>
                        <a:pt x="515008" y="512555"/>
                        <a:pt x="564993" y="497853"/>
                        <a:pt x="606997" y="475171"/>
                      </a:cubicBezTo>
                      <a:cubicBezTo>
                        <a:pt x="658242" y="447449"/>
                        <a:pt x="710326" y="411325"/>
                        <a:pt x="738469" y="351680"/>
                      </a:cubicBezTo>
                      <a:cubicBezTo>
                        <a:pt x="790134" y="242890"/>
                        <a:pt x="728808" y="92096"/>
                        <a:pt x="633459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2" name="Graphic 2">
                <a:extLst>
                  <a:ext uri="{FF2B5EF4-FFF2-40B4-BE49-F238E27FC236}">
                    <a16:creationId xmlns:a16="http://schemas.microsoft.com/office/drawing/2014/main" id="{1090652F-D8F7-B23F-FA04-8BE107B2A193}"/>
                  </a:ext>
                </a:extLst>
              </p:cNvPr>
              <p:cNvGrpSpPr/>
              <p:nvPr/>
            </p:nvGrpSpPr>
            <p:grpSpPr>
              <a:xfrm>
                <a:off x="6603189" y="4168232"/>
                <a:ext cx="688396" cy="470102"/>
                <a:chOff x="3682722" y="3581322"/>
                <a:chExt cx="849372" cy="580033"/>
              </a:xfrm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643AEC3F-8DD9-E2DE-D833-EBA15ED20A97}"/>
                    </a:ext>
                  </a:extLst>
                </p:cNvPr>
                <p:cNvSpPr/>
                <p:nvPr/>
              </p:nvSpPr>
              <p:spPr>
                <a:xfrm>
                  <a:off x="3686898" y="3863695"/>
                  <a:ext cx="845117" cy="297660"/>
                </a:xfrm>
                <a:custGeom>
                  <a:avLst/>
                  <a:gdLst>
                    <a:gd name="connsiteX0" fmla="*/ 0 w 845117"/>
                    <a:gd name="connsiteY0" fmla="*/ 14701 h 297660"/>
                    <a:gd name="connsiteX1" fmla="*/ 56705 w 845117"/>
                    <a:gd name="connsiteY1" fmla="*/ 154574 h 297660"/>
                    <a:gd name="connsiteX2" fmla="*/ 305788 w 845117"/>
                    <a:gd name="connsiteY2" fmla="*/ 287726 h 297660"/>
                    <a:gd name="connsiteX3" fmla="*/ 845118 w 845117"/>
                    <a:gd name="connsiteY3" fmla="*/ 0 h 297660"/>
                    <a:gd name="connsiteX4" fmla="*/ 0 w 845117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5117" h="297660">
                      <a:moveTo>
                        <a:pt x="0" y="14701"/>
                      </a:moveTo>
                      <a:cubicBezTo>
                        <a:pt x="1260" y="29403"/>
                        <a:pt x="18902" y="108790"/>
                        <a:pt x="56705" y="154574"/>
                      </a:cubicBezTo>
                      <a:cubicBezTo>
                        <a:pt x="118871" y="229761"/>
                        <a:pt x="214220" y="269665"/>
                        <a:pt x="305788" y="287726"/>
                      </a:cubicBezTo>
                      <a:cubicBezTo>
                        <a:pt x="499006" y="325530"/>
                        <a:pt x="837557" y="260844"/>
                        <a:pt x="845118" y="0"/>
                      </a:cubicBezTo>
                      <a:cubicBezTo>
                        <a:pt x="639299" y="163395"/>
                        <a:pt x="173476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96999E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22CDAE9-9731-48CC-86BD-2004BC0E548F}"/>
                    </a:ext>
                  </a:extLst>
                </p:cNvPr>
                <p:cNvSpPr/>
                <p:nvPr/>
              </p:nvSpPr>
              <p:spPr>
                <a:xfrm>
                  <a:off x="3686898" y="3849414"/>
                  <a:ext cx="845117" cy="297660"/>
                </a:xfrm>
                <a:custGeom>
                  <a:avLst/>
                  <a:gdLst>
                    <a:gd name="connsiteX0" fmla="*/ 0 w 845117"/>
                    <a:gd name="connsiteY0" fmla="*/ 14701 h 297660"/>
                    <a:gd name="connsiteX1" fmla="*/ 56705 w 845117"/>
                    <a:gd name="connsiteY1" fmla="*/ 154574 h 297660"/>
                    <a:gd name="connsiteX2" fmla="*/ 305788 w 845117"/>
                    <a:gd name="connsiteY2" fmla="*/ 287726 h 297660"/>
                    <a:gd name="connsiteX3" fmla="*/ 845118 w 845117"/>
                    <a:gd name="connsiteY3" fmla="*/ 0 h 297660"/>
                    <a:gd name="connsiteX4" fmla="*/ 0 w 845117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5117" h="297660">
                      <a:moveTo>
                        <a:pt x="0" y="14701"/>
                      </a:moveTo>
                      <a:cubicBezTo>
                        <a:pt x="1260" y="29403"/>
                        <a:pt x="18902" y="108790"/>
                        <a:pt x="56705" y="154574"/>
                      </a:cubicBezTo>
                      <a:cubicBezTo>
                        <a:pt x="118871" y="229761"/>
                        <a:pt x="214220" y="269665"/>
                        <a:pt x="305788" y="287726"/>
                      </a:cubicBezTo>
                      <a:cubicBezTo>
                        <a:pt x="499006" y="325530"/>
                        <a:pt x="837557" y="260844"/>
                        <a:pt x="845118" y="0"/>
                      </a:cubicBezTo>
                      <a:cubicBezTo>
                        <a:pt x="639299" y="163395"/>
                        <a:pt x="173476" y="149534"/>
                        <a:pt x="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5B996FF-F25C-9A09-51FE-F6F7C4875297}"/>
                    </a:ext>
                  </a:extLst>
                </p:cNvPr>
                <p:cNvSpPr/>
                <p:nvPr/>
              </p:nvSpPr>
              <p:spPr>
                <a:xfrm>
                  <a:off x="3682722" y="3581322"/>
                  <a:ext cx="849372" cy="526861"/>
                </a:xfrm>
                <a:custGeom>
                  <a:avLst/>
                  <a:gdLst>
                    <a:gd name="connsiteX0" fmla="*/ 710681 w 849372"/>
                    <a:gd name="connsiteY0" fmla="*/ 46732 h 526861"/>
                    <a:gd name="connsiteX1" fmla="*/ 136909 w 849372"/>
                    <a:gd name="connsiteY1" fmla="*/ 51772 h 526861"/>
                    <a:gd name="connsiteX2" fmla="*/ 7537 w 849372"/>
                    <a:gd name="connsiteY2" fmla="*/ 298755 h 526861"/>
                    <a:gd name="connsiteX3" fmla="*/ 218816 w 849372"/>
                    <a:gd name="connsiteY3" fmla="*/ 494073 h 526861"/>
                    <a:gd name="connsiteX4" fmla="*/ 516623 w 849372"/>
                    <a:gd name="connsiteY4" fmla="*/ 520956 h 526861"/>
                    <a:gd name="connsiteX5" fmla="*/ 680859 w 849372"/>
                    <a:gd name="connsiteY5" fmla="*/ 475171 h 526861"/>
                    <a:gd name="connsiteX6" fmla="*/ 828292 w 849372"/>
                    <a:gd name="connsiteY6" fmla="*/ 351680 h 526861"/>
                    <a:gd name="connsiteX7" fmla="*/ 710681 w 849372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9372" h="526861">
                      <a:moveTo>
                        <a:pt x="710681" y="46732"/>
                      </a:moveTo>
                      <a:cubicBezTo>
                        <a:pt x="631714" y="13129"/>
                        <a:pt x="336847" y="-41476"/>
                        <a:pt x="136909" y="51772"/>
                      </a:cubicBezTo>
                      <a:cubicBezTo>
                        <a:pt x="73483" y="81175"/>
                        <a:pt x="-28587" y="139560"/>
                        <a:pt x="7537" y="298755"/>
                      </a:cubicBezTo>
                      <a:cubicBezTo>
                        <a:pt x="24758" y="374362"/>
                        <a:pt x="120107" y="449129"/>
                        <a:pt x="218816" y="494073"/>
                      </a:cubicBezTo>
                      <a:cubicBezTo>
                        <a:pt x="311225" y="536077"/>
                        <a:pt x="459918" y="528516"/>
                        <a:pt x="516623" y="520956"/>
                      </a:cubicBezTo>
                      <a:cubicBezTo>
                        <a:pt x="577949" y="512555"/>
                        <a:pt x="633814" y="497853"/>
                        <a:pt x="680859" y="475171"/>
                      </a:cubicBezTo>
                      <a:cubicBezTo>
                        <a:pt x="738404" y="447449"/>
                        <a:pt x="796789" y="411325"/>
                        <a:pt x="828292" y="351680"/>
                      </a:cubicBezTo>
                      <a:cubicBezTo>
                        <a:pt x="886257" y="242890"/>
                        <a:pt x="817371" y="92096"/>
                        <a:pt x="710681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845252CE-2B1B-0FE6-DE53-4700188228D7}"/>
                  </a:ext>
                </a:extLst>
              </p:cNvPr>
              <p:cNvGrpSpPr/>
              <p:nvPr/>
            </p:nvGrpSpPr>
            <p:grpSpPr>
              <a:xfrm>
                <a:off x="6585448" y="4086869"/>
                <a:ext cx="724114" cy="468743"/>
                <a:chOff x="3660834" y="3480932"/>
                <a:chExt cx="893443" cy="578354"/>
              </a:xfrm>
            </p:grpSpPr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15EC715C-AC5D-14F2-9999-2A64BD7C7E72}"/>
                    </a:ext>
                  </a:extLst>
                </p:cNvPr>
                <p:cNvSpPr/>
                <p:nvPr/>
              </p:nvSpPr>
              <p:spPr>
                <a:xfrm>
                  <a:off x="3665476" y="3761626"/>
                  <a:ext cx="888801" cy="297660"/>
                </a:xfrm>
                <a:custGeom>
                  <a:avLst/>
                  <a:gdLst>
                    <a:gd name="connsiteX0" fmla="*/ 0 w 888801"/>
                    <a:gd name="connsiteY0" fmla="*/ 14701 h 297660"/>
                    <a:gd name="connsiteX1" fmla="*/ 59645 w 888801"/>
                    <a:gd name="connsiteY1" fmla="*/ 154574 h 297660"/>
                    <a:gd name="connsiteX2" fmla="*/ 321750 w 888801"/>
                    <a:gd name="connsiteY2" fmla="*/ 287726 h 297660"/>
                    <a:gd name="connsiteX3" fmla="*/ 888802 w 888801"/>
                    <a:gd name="connsiteY3" fmla="*/ 0 h 297660"/>
                    <a:gd name="connsiteX4" fmla="*/ 420 w 888801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801" h="297660">
                      <a:moveTo>
                        <a:pt x="0" y="14701"/>
                      </a:moveTo>
                      <a:cubicBezTo>
                        <a:pt x="1260" y="29403"/>
                        <a:pt x="19742" y="108790"/>
                        <a:pt x="59645" y="154574"/>
                      </a:cubicBezTo>
                      <a:cubicBezTo>
                        <a:pt x="125172" y="229761"/>
                        <a:pt x="225141" y="269665"/>
                        <a:pt x="321750" y="287726"/>
                      </a:cubicBezTo>
                      <a:cubicBezTo>
                        <a:pt x="525048" y="325530"/>
                        <a:pt x="880401" y="260844"/>
                        <a:pt x="888802" y="0"/>
                      </a:cubicBezTo>
                      <a:cubicBezTo>
                        <a:pt x="672482" y="163395"/>
                        <a:pt x="183137" y="149534"/>
                        <a:pt x="420" y="14701"/>
                      </a:cubicBezTo>
                      <a:close/>
                    </a:path>
                  </a:pathLst>
                </a:custGeom>
                <a:solidFill>
                  <a:srgbClr val="96999E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2DA57C4D-C13A-92BA-9557-4A2D0DE7F7BB}"/>
                    </a:ext>
                  </a:extLst>
                </p:cNvPr>
                <p:cNvSpPr/>
                <p:nvPr/>
              </p:nvSpPr>
              <p:spPr>
                <a:xfrm>
                  <a:off x="3665476" y="3748605"/>
                  <a:ext cx="888801" cy="297660"/>
                </a:xfrm>
                <a:custGeom>
                  <a:avLst/>
                  <a:gdLst>
                    <a:gd name="connsiteX0" fmla="*/ 0 w 888801"/>
                    <a:gd name="connsiteY0" fmla="*/ 15121 h 297660"/>
                    <a:gd name="connsiteX1" fmla="*/ 59645 w 888801"/>
                    <a:gd name="connsiteY1" fmla="*/ 154994 h 297660"/>
                    <a:gd name="connsiteX2" fmla="*/ 321750 w 888801"/>
                    <a:gd name="connsiteY2" fmla="*/ 287727 h 297660"/>
                    <a:gd name="connsiteX3" fmla="*/ 888802 w 888801"/>
                    <a:gd name="connsiteY3" fmla="*/ 0 h 297660"/>
                    <a:gd name="connsiteX4" fmla="*/ 420 w 888801"/>
                    <a:gd name="connsiteY4" fmla="*/ 14701 h 29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801" h="297660">
                      <a:moveTo>
                        <a:pt x="0" y="15121"/>
                      </a:moveTo>
                      <a:cubicBezTo>
                        <a:pt x="1260" y="29823"/>
                        <a:pt x="19742" y="109210"/>
                        <a:pt x="59645" y="154994"/>
                      </a:cubicBezTo>
                      <a:cubicBezTo>
                        <a:pt x="125172" y="230181"/>
                        <a:pt x="225141" y="270085"/>
                        <a:pt x="321750" y="287727"/>
                      </a:cubicBezTo>
                      <a:cubicBezTo>
                        <a:pt x="525048" y="325530"/>
                        <a:pt x="880401" y="260844"/>
                        <a:pt x="888802" y="0"/>
                      </a:cubicBezTo>
                      <a:cubicBezTo>
                        <a:pt x="672482" y="163395"/>
                        <a:pt x="183137" y="149534"/>
                        <a:pt x="420" y="1470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3E5BBECC-BA29-E3FE-A4A6-D514A92DF96F}"/>
                    </a:ext>
                  </a:extLst>
                </p:cNvPr>
                <p:cNvSpPr/>
                <p:nvPr/>
              </p:nvSpPr>
              <p:spPr>
                <a:xfrm>
                  <a:off x="3660834" y="3480932"/>
                  <a:ext cx="892932" cy="526861"/>
                </a:xfrm>
                <a:custGeom>
                  <a:avLst/>
                  <a:gdLst>
                    <a:gd name="connsiteX0" fmla="*/ 747270 w 892932"/>
                    <a:gd name="connsiteY0" fmla="*/ 46732 h 526861"/>
                    <a:gd name="connsiteX1" fmla="*/ 144095 w 892932"/>
                    <a:gd name="connsiteY1" fmla="*/ 51772 h 526861"/>
                    <a:gd name="connsiteX2" fmla="*/ 8002 w 892932"/>
                    <a:gd name="connsiteY2" fmla="*/ 298755 h 526861"/>
                    <a:gd name="connsiteX3" fmla="*/ 230203 w 892932"/>
                    <a:gd name="connsiteY3" fmla="*/ 494073 h 526861"/>
                    <a:gd name="connsiteX4" fmla="*/ 543132 w 892932"/>
                    <a:gd name="connsiteY4" fmla="*/ 520956 h 526861"/>
                    <a:gd name="connsiteX5" fmla="*/ 715768 w 892932"/>
                    <a:gd name="connsiteY5" fmla="*/ 475171 h 526861"/>
                    <a:gd name="connsiteX6" fmla="*/ 870762 w 892932"/>
                    <a:gd name="connsiteY6" fmla="*/ 351680 h 526861"/>
                    <a:gd name="connsiteX7" fmla="*/ 747270 w 892932"/>
                    <a:gd name="connsiteY7" fmla="*/ 46312 h 5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92932" h="526861">
                      <a:moveTo>
                        <a:pt x="747270" y="46732"/>
                      </a:moveTo>
                      <a:cubicBezTo>
                        <a:pt x="664523" y="13129"/>
                        <a:pt x="354534" y="-41476"/>
                        <a:pt x="144095" y="51772"/>
                      </a:cubicBezTo>
                      <a:cubicBezTo>
                        <a:pt x="77309" y="81175"/>
                        <a:pt x="-30221" y="139560"/>
                        <a:pt x="8002" y="298755"/>
                      </a:cubicBezTo>
                      <a:cubicBezTo>
                        <a:pt x="26064" y="374362"/>
                        <a:pt x="126453" y="449129"/>
                        <a:pt x="230203" y="494073"/>
                      </a:cubicBezTo>
                      <a:cubicBezTo>
                        <a:pt x="327232" y="536077"/>
                        <a:pt x="483906" y="528516"/>
                        <a:pt x="543132" y="520956"/>
                      </a:cubicBezTo>
                      <a:cubicBezTo>
                        <a:pt x="607398" y="512555"/>
                        <a:pt x="666203" y="497853"/>
                        <a:pt x="715768" y="475171"/>
                      </a:cubicBezTo>
                      <a:cubicBezTo>
                        <a:pt x="776253" y="447449"/>
                        <a:pt x="837579" y="411326"/>
                        <a:pt x="870762" y="351680"/>
                      </a:cubicBezTo>
                      <a:cubicBezTo>
                        <a:pt x="931667" y="242890"/>
                        <a:pt x="859421" y="92096"/>
                        <a:pt x="747270" y="4631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F2E6B2F-D823-1E36-FF04-998472C0D005}"/>
                  </a:ext>
                </a:extLst>
              </p:cNvPr>
              <p:cNvSpPr/>
              <p:nvPr/>
            </p:nvSpPr>
            <p:spPr>
              <a:xfrm>
                <a:off x="6589211" y="4072317"/>
                <a:ext cx="717969" cy="405114"/>
              </a:xfrm>
              <a:custGeom>
                <a:avLst/>
                <a:gdLst>
                  <a:gd name="connsiteX0" fmla="*/ 839657 w 885861"/>
                  <a:gd name="connsiteY0" fmla="*/ 139453 h 499846"/>
                  <a:gd name="connsiteX1" fmla="*/ 442721 w 885861"/>
                  <a:gd name="connsiteY1" fmla="*/ 0 h 499846"/>
                  <a:gd name="connsiteX2" fmla="*/ 49565 w 885861"/>
                  <a:gd name="connsiteY2" fmla="*/ 134832 h 499846"/>
                  <a:gd name="connsiteX3" fmla="*/ 11341 w 885861"/>
                  <a:gd name="connsiteY3" fmla="*/ 193218 h 499846"/>
                  <a:gd name="connsiteX4" fmla="*/ 0 w 885861"/>
                  <a:gd name="connsiteY4" fmla="*/ 249923 h 499846"/>
                  <a:gd name="connsiteX5" fmla="*/ 1680 w 885861"/>
                  <a:gd name="connsiteY5" fmla="*/ 269665 h 499846"/>
                  <a:gd name="connsiteX6" fmla="*/ 22262 w 885861"/>
                  <a:gd name="connsiteY6" fmla="*/ 328050 h 499846"/>
                  <a:gd name="connsiteX7" fmla="*/ 443141 w 885861"/>
                  <a:gd name="connsiteY7" fmla="*/ 499846 h 499846"/>
                  <a:gd name="connsiteX8" fmla="*/ 859819 w 885861"/>
                  <a:gd name="connsiteY8" fmla="*/ 334771 h 499846"/>
                  <a:gd name="connsiteX9" fmla="*/ 882921 w 885861"/>
                  <a:gd name="connsiteY9" fmla="*/ 279326 h 499846"/>
                  <a:gd name="connsiteX10" fmla="*/ 885861 w 885861"/>
                  <a:gd name="connsiteY10" fmla="*/ 249923 h 499846"/>
                  <a:gd name="connsiteX11" fmla="*/ 876201 w 885861"/>
                  <a:gd name="connsiteY11" fmla="*/ 197838 h 499846"/>
                  <a:gd name="connsiteX12" fmla="*/ 840497 w 885861"/>
                  <a:gd name="connsiteY12" fmla="*/ 139453 h 49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61" h="499846">
                    <a:moveTo>
                      <a:pt x="839657" y="139453"/>
                    </a:moveTo>
                    <a:cubicBezTo>
                      <a:pt x="767411" y="57125"/>
                      <a:pt x="616617" y="0"/>
                      <a:pt x="442721" y="0"/>
                    </a:cubicBezTo>
                    <a:cubicBezTo>
                      <a:pt x="268825" y="0"/>
                      <a:pt x="123491" y="54605"/>
                      <a:pt x="49565" y="134832"/>
                    </a:cubicBezTo>
                    <a:cubicBezTo>
                      <a:pt x="32763" y="153314"/>
                      <a:pt x="19742" y="172636"/>
                      <a:pt x="11341" y="193218"/>
                    </a:cubicBezTo>
                    <a:cubicBezTo>
                      <a:pt x="3780" y="211279"/>
                      <a:pt x="0" y="230601"/>
                      <a:pt x="0" y="249923"/>
                    </a:cubicBezTo>
                    <a:cubicBezTo>
                      <a:pt x="0" y="256644"/>
                      <a:pt x="420" y="262944"/>
                      <a:pt x="1680" y="269665"/>
                    </a:cubicBezTo>
                    <a:cubicBezTo>
                      <a:pt x="4200" y="289827"/>
                      <a:pt x="11341" y="309148"/>
                      <a:pt x="22262" y="328050"/>
                    </a:cubicBezTo>
                    <a:cubicBezTo>
                      <a:pt x="80227" y="427599"/>
                      <a:pt x="246563" y="499846"/>
                      <a:pt x="443141" y="499846"/>
                    </a:cubicBezTo>
                    <a:cubicBezTo>
                      <a:pt x="639719" y="499846"/>
                      <a:pt x="798073" y="430960"/>
                      <a:pt x="859819" y="334771"/>
                    </a:cubicBezTo>
                    <a:cubicBezTo>
                      <a:pt x="871160" y="317129"/>
                      <a:pt x="878721" y="298648"/>
                      <a:pt x="882921" y="279326"/>
                    </a:cubicBezTo>
                    <a:cubicBezTo>
                      <a:pt x="885021" y="269665"/>
                      <a:pt x="885861" y="260004"/>
                      <a:pt x="885861" y="249923"/>
                    </a:cubicBezTo>
                    <a:cubicBezTo>
                      <a:pt x="885861" y="231861"/>
                      <a:pt x="882501" y="214640"/>
                      <a:pt x="876201" y="197838"/>
                    </a:cubicBezTo>
                    <a:cubicBezTo>
                      <a:pt x="868640" y="177256"/>
                      <a:pt x="856459" y="157935"/>
                      <a:pt x="840497" y="139453"/>
                    </a:cubicBezTo>
                    <a:close/>
                  </a:path>
                </a:pathLst>
              </a:custGeom>
              <a:solidFill>
                <a:srgbClr val="96999E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A27A40F2-F629-3E9E-1E2A-DDBA333F04BF}"/>
                  </a:ext>
                </a:extLst>
              </p:cNvPr>
              <p:cNvSpPr/>
              <p:nvPr/>
            </p:nvSpPr>
            <p:spPr>
              <a:xfrm>
                <a:off x="6589211" y="4056318"/>
                <a:ext cx="717969" cy="405112"/>
              </a:xfrm>
              <a:custGeom>
                <a:avLst/>
                <a:gdLst>
                  <a:gd name="connsiteX0" fmla="*/ 839657 w 885861"/>
                  <a:gd name="connsiteY0" fmla="*/ 139453 h 499845"/>
                  <a:gd name="connsiteX1" fmla="*/ 442721 w 885861"/>
                  <a:gd name="connsiteY1" fmla="*/ 0 h 499845"/>
                  <a:gd name="connsiteX2" fmla="*/ 49565 w 885861"/>
                  <a:gd name="connsiteY2" fmla="*/ 134832 h 499845"/>
                  <a:gd name="connsiteX3" fmla="*/ 11341 w 885861"/>
                  <a:gd name="connsiteY3" fmla="*/ 193218 h 499845"/>
                  <a:gd name="connsiteX4" fmla="*/ 0 w 885861"/>
                  <a:gd name="connsiteY4" fmla="*/ 249923 h 499845"/>
                  <a:gd name="connsiteX5" fmla="*/ 1680 w 885861"/>
                  <a:gd name="connsiteY5" fmla="*/ 269665 h 499845"/>
                  <a:gd name="connsiteX6" fmla="*/ 22262 w 885861"/>
                  <a:gd name="connsiteY6" fmla="*/ 328050 h 499845"/>
                  <a:gd name="connsiteX7" fmla="*/ 443141 w 885861"/>
                  <a:gd name="connsiteY7" fmla="*/ 499846 h 499845"/>
                  <a:gd name="connsiteX8" fmla="*/ 859819 w 885861"/>
                  <a:gd name="connsiteY8" fmla="*/ 334771 h 499845"/>
                  <a:gd name="connsiteX9" fmla="*/ 882921 w 885861"/>
                  <a:gd name="connsiteY9" fmla="*/ 279746 h 499845"/>
                  <a:gd name="connsiteX10" fmla="*/ 885861 w 885861"/>
                  <a:gd name="connsiteY10" fmla="*/ 250343 h 499845"/>
                  <a:gd name="connsiteX11" fmla="*/ 876201 w 885861"/>
                  <a:gd name="connsiteY11" fmla="*/ 198258 h 499845"/>
                  <a:gd name="connsiteX12" fmla="*/ 840497 w 885861"/>
                  <a:gd name="connsiteY12" fmla="*/ 139873 h 49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61" h="499845">
                    <a:moveTo>
                      <a:pt x="839657" y="139453"/>
                    </a:moveTo>
                    <a:cubicBezTo>
                      <a:pt x="767411" y="57125"/>
                      <a:pt x="616617" y="0"/>
                      <a:pt x="442721" y="0"/>
                    </a:cubicBezTo>
                    <a:cubicBezTo>
                      <a:pt x="268825" y="0"/>
                      <a:pt x="123491" y="54605"/>
                      <a:pt x="49565" y="134832"/>
                    </a:cubicBezTo>
                    <a:cubicBezTo>
                      <a:pt x="32763" y="152894"/>
                      <a:pt x="19742" y="172636"/>
                      <a:pt x="11341" y="193218"/>
                    </a:cubicBezTo>
                    <a:cubicBezTo>
                      <a:pt x="3780" y="211279"/>
                      <a:pt x="0" y="230601"/>
                      <a:pt x="0" y="249923"/>
                    </a:cubicBezTo>
                    <a:cubicBezTo>
                      <a:pt x="0" y="256644"/>
                      <a:pt x="420" y="263364"/>
                      <a:pt x="1680" y="269665"/>
                    </a:cubicBezTo>
                    <a:cubicBezTo>
                      <a:pt x="4200" y="289827"/>
                      <a:pt x="11341" y="309148"/>
                      <a:pt x="22262" y="328050"/>
                    </a:cubicBezTo>
                    <a:cubicBezTo>
                      <a:pt x="80227" y="427599"/>
                      <a:pt x="246563" y="499846"/>
                      <a:pt x="443141" y="499846"/>
                    </a:cubicBezTo>
                    <a:cubicBezTo>
                      <a:pt x="639719" y="499846"/>
                      <a:pt x="798073" y="430960"/>
                      <a:pt x="859819" y="334771"/>
                    </a:cubicBezTo>
                    <a:cubicBezTo>
                      <a:pt x="871160" y="317129"/>
                      <a:pt x="878721" y="298647"/>
                      <a:pt x="882921" y="279746"/>
                    </a:cubicBezTo>
                    <a:cubicBezTo>
                      <a:pt x="885021" y="270085"/>
                      <a:pt x="885861" y="260424"/>
                      <a:pt x="885861" y="250343"/>
                    </a:cubicBezTo>
                    <a:cubicBezTo>
                      <a:pt x="885861" y="232281"/>
                      <a:pt x="882501" y="215060"/>
                      <a:pt x="876201" y="198258"/>
                    </a:cubicBezTo>
                    <a:cubicBezTo>
                      <a:pt x="868640" y="177676"/>
                      <a:pt x="856459" y="158355"/>
                      <a:pt x="840497" y="139873"/>
                    </a:cubicBezTo>
                    <a:close/>
                  </a:path>
                </a:pathLst>
              </a:custGeom>
              <a:solidFill>
                <a:srgbClr val="3A3A3A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DD9522E4-3796-2E0D-2012-810DF15AB130}"/>
                  </a:ext>
                </a:extLst>
              </p:cNvPr>
              <p:cNvSpPr/>
              <p:nvPr/>
            </p:nvSpPr>
            <p:spPr>
              <a:xfrm>
                <a:off x="6611679" y="4082871"/>
                <a:ext cx="672692" cy="352006"/>
              </a:xfrm>
              <a:custGeom>
                <a:avLst/>
                <a:gdLst>
                  <a:gd name="connsiteX0" fmla="*/ 414998 w 829996"/>
                  <a:gd name="connsiteY0" fmla="*/ 0 h 434320"/>
                  <a:gd name="connsiteX1" fmla="*/ 0 w 829996"/>
                  <a:gd name="connsiteY1" fmla="*/ 217160 h 434320"/>
                  <a:gd name="connsiteX2" fmla="*/ 414998 w 829996"/>
                  <a:gd name="connsiteY2" fmla="*/ 434320 h 434320"/>
                  <a:gd name="connsiteX3" fmla="*/ 829996 w 829996"/>
                  <a:gd name="connsiteY3" fmla="*/ 217160 h 434320"/>
                  <a:gd name="connsiteX4" fmla="*/ 414998 w 829996"/>
                  <a:gd name="connsiteY4" fmla="*/ 0 h 43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9996" h="434320">
                    <a:moveTo>
                      <a:pt x="414998" y="0"/>
                    </a:moveTo>
                    <a:cubicBezTo>
                      <a:pt x="170536" y="0"/>
                      <a:pt x="0" y="114671"/>
                      <a:pt x="0" y="217160"/>
                    </a:cubicBezTo>
                    <a:cubicBezTo>
                      <a:pt x="0" y="319650"/>
                      <a:pt x="170536" y="434320"/>
                      <a:pt x="414998" y="434320"/>
                    </a:cubicBezTo>
                    <a:cubicBezTo>
                      <a:pt x="659461" y="434320"/>
                      <a:pt x="829996" y="319650"/>
                      <a:pt x="829996" y="217160"/>
                    </a:cubicBezTo>
                    <a:cubicBezTo>
                      <a:pt x="829996" y="114671"/>
                      <a:pt x="659461" y="0"/>
                      <a:pt x="414998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17" name="Graphic 2">
                <a:extLst>
                  <a:ext uri="{FF2B5EF4-FFF2-40B4-BE49-F238E27FC236}">
                    <a16:creationId xmlns:a16="http://schemas.microsoft.com/office/drawing/2014/main" id="{A5844591-0782-3AAB-8A63-77F5BB8D3F0A}"/>
                  </a:ext>
                </a:extLst>
              </p:cNvPr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6448614" y="3176303"/>
                <a:ext cx="998880" cy="1262318"/>
                <a:chOff x="3492001" y="2357437"/>
                <a:chExt cx="1232462" cy="1557503"/>
              </a:xfrm>
            </p:grpSpPr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BF2DEFC7-5CE8-C0A1-0DE3-F000E2820282}"/>
                    </a:ext>
                  </a:extLst>
                </p:cNvPr>
                <p:cNvSpPr/>
                <p:nvPr/>
              </p:nvSpPr>
              <p:spPr>
                <a:xfrm>
                  <a:off x="3496621" y="2362057"/>
                  <a:ext cx="1222337" cy="1547843"/>
                </a:xfrm>
                <a:custGeom>
                  <a:avLst/>
                  <a:gdLst>
                    <a:gd name="connsiteX0" fmla="*/ 640559 w 1222337"/>
                    <a:gd name="connsiteY0" fmla="*/ 840 h 1547843"/>
                    <a:gd name="connsiteX1" fmla="*/ 611576 w 1222337"/>
                    <a:gd name="connsiteY1" fmla="*/ 0 h 1547843"/>
                    <a:gd name="connsiteX2" fmla="*/ 0 w 1222337"/>
                    <a:gd name="connsiteY2" fmla="*/ 611576 h 1547843"/>
                    <a:gd name="connsiteX3" fmla="*/ 91988 w 1222337"/>
                    <a:gd name="connsiteY3" fmla="*/ 934166 h 1547843"/>
                    <a:gd name="connsiteX4" fmla="*/ 195738 w 1222337"/>
                    <a:gd name="connsiteY4" fmla="*/ 1310521 h 1547843"/>
                    <a:gd name="connsiteX5" fmla="*/ 316289 w 1222337"/>
                    <a:gd name="connsiteY5" fmla="*/ 1476856 h 1547843"/>
                    <a:gd name="connsiteX6" fmla="*/ 908964 w 1222337"/>
                    <a:gd name="connsiteY6" fmla="*/ 1477696 h 1547843"/>
                    <a:gd name="connsiteX7" fmla="*/ 1026574 w 1222337"/>
                    <a:gd name="connsiteY7" fmla="*/ 1310101 h 1547843"/>
                    <a:gd name="connsiteX8" fmla="*/ 1134524 w 1222337"/>
                    <a:gd name="connsiteY8" fmla="*/ 927445 h 1547843"/>
                    <a:gd name="connsiteX9" fmla="*/ 1221472 w 1222337"/>
                    <a:gd name="connsiteY9" fmla="*/ 578813 h 1547843"/>
                    <a:gd name="connsiteX10" fmla="*/ 640559 w 1222337"/>
                    <a:gd name="connsiteY10" fmla="*/ 840 h 15478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22337" h="1547843">
                      <a:moveTo>
                        <a:pt x="640559" y="840"/>
                      </a:moveTo>
                      <a:cubicBezTo>
                        <a:pt x="630898" y="840"/>
                        <a:pt x="621237" y="0"/>
                        <a:pt x="611576" y="0"/>
                      </a:cubicBezTo>
                      <a:cubicBezTo>
                        <a:pt x="273865" y="0"/>
                        <a:pt x="0" y="273865"/>
                        <a:pt x="0" y="611576"/>
                      </a:cubicBezTo>
                      <a:cubicBezTo>
                        <a:pt x="0" y="730027"/>
                        <a:pt x="33603" y="840497"/>
                        <a:pt x="91988" y="934166"/>
                      </a:cubicBezTo>
                      <a:cubicBezTo>
                        <a:pt x="162135" y="1046736"/>
                        <a:pt x="192798" y="1177788"/>
                        <a:pt x="195738" y="1310521"/>
                      </a:cubicBezTo>
                      <a:cubicBezTo>
                        <a:pt x="196998" y="1370586"/>
                        <a:pt x="237322" y="1430652"/>
                        <a:pt x="316289" y="1476856"/>
                      </a:cubicBezTo>
                      <a:cubicBezTo>
                        <a:pt x="478004" y="1570945"/>
                        <a:pt x="745989" y="1571785"/>
                        <a:pt x="908964" y="1477696"/>
                      </a:cubicBezTo>
                      <a:cubicBezTo>
                        <a:pt x="988771" y="1431492"/>
                        <a:pt x="1023634" y="1386548"/>
                        <a:pt x="1026574" y="1310101"/>
                      </a:cubicBezTo>
                      <a:cubicBezTo>
                        <a:pt x="1032035" y="1174848"/>
                        <a:pt x="1064378" y="1042956"/>
                        <a:pt x="1134524" y="927445"/>
                      </a:cubicBezTo>
                      <a:cubicBezTo>
                        <a:pt x="1195430" y="826636"/>
                        <a:pt x="1228193" y="706925"/>
                        <a:pt x="1221472" y="578813"/>
                      </a:cubicBezTo>
                      <a:cubicBezTo>
                        <a:pt x="1205931" y="267145"/>
                        <a:pt x="943827" y="840"/>
                        <a:pt x="640559" y="840"/>
                      </a:cubicBezTo>
                      <a:close/>
                    </a:path>
                  </a:pathLst>
                </a:custGeom>
                <a:solidFill>
                  <a:srgbClr val="DBE0E6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2146B18-4AC8-0F33-CB7F-016D514ED784}"/>
                    </a:ext>
                  </a:extLst>
                </p:cNvPr>
                <p:cNvSpPr/>
                <p:nvPr/>
              </p:nvSpPr>
              <p:spPr>
                <a:xfrm>
                  <a:off x="3492001" y="2357437"/>
                  <a:ext cx="1232462" cy="1557503"/>
                </a:xfrm>
                <a:custGeom>
                  <a:avLst/>
                  <a:gdLst>
                    <a:gd name="connsiteX0" fmla="*/ 618297 w 1232462"/>
                    <a:gd name="connsiteY0" fmla="*/ 1557504 h 1557503"/>
                    <a:gd name="connsiteX1" fmla="*/ 318809 w 1232462"/>
                    <a:gd name="connsiteY1" fmla="*/ 1485677 h 1557503"/>
                    <a:gd name="connsiteX2" fmla="*/ 195738 w 1232462"/>
                    <a:gd name="connsiteY2" fmla="*/ 1315561 h 1557503"/>
                    <a:gd name="connsiteX3" fmla="*/ 92829 w 1232462"/>
                    <a:gd name="connsiteY3" fmla="*/ 941727 h 1557503"/>
                    <a:gd name="connsiteX4" fmla="*/ 0 w 1232462"/>
                    <a:gd name="connsiteY4" fmla="*/ 616617 h 1557503"/>
                    <a:gd name="connsiteX5" fmla="*/ 616197 w 1232462"/>
                    <a:gd name="connsiteY5" fmla="*/ 0 h 1557503"/>
                    <a:gd name="connsiteX6" fmla="*/ 630898 w 1232462"/>
                    <a:gd name="connsiteY6" fmla="*/ 0 h 1557503"/>
                    <a:gd name="connsiteX7" fmla="*/ 645599 w 1232462"/>
                    <a:gd name="connsiteY7" fmla="*/ 0 h 1557503"/>
                    <a:gd name="connsiteX8" fmla="*/ 1231553 w 1232462"/>
                    <a:gd name="connsiteY8" fmla="*/ 583014 h 1557503"/>
                    <a:gd name="connsiteX9" fmla="*/ 1143765 w 1232462"/>
                    <a:gd name="connsiteY9" fmla="*/ 934586 h 1557503"/>
                    <a:gd name="connsiteX10" fmla="*/ 1036235 w 1232462"/>
                    <a:gd name="connsiteY10" fmla="*/ 1315141 h 1557503"/>
                    <a:gd name="connsiteX11" fmla="*/ 916104 w 1232462"/>
                    <a:gd name="connsiteY11" fmla="*/ 1486517 h 1557503"/>
                    <a:gd name="connsiteX12" fmla="*/ 618297 w 1232462"/>
                    <a:gd name="connsiteY12" fmla="*/ 1557504 h 1557503"/>
                    <a:gd name="connsiteX13" fmla="*/ 616197 w 1232462"/>
                    <a:gd name="connsiteY13" fmla="*/ 9241 h 1557503"/>
                    <a:gd name="connsiteX14" fmla="*/ 9241 w 1232462"/>
                    <a:gd name="connsiteY14" fmla="*/ 616197 h 1557503"/>
                    <a:gd name="connsiteX15" fmla="*/ 100809 w 1232462"/>
                    <a:gd name="connsiteY15" fmla="*/ 936266 h 1557503"/>
                    <a:gd name="connsiteX16" fmla="*/ 205399 w 1232462"/>
                    <a:gd name="connsiteY16" fmla="*/ 1315141 h 1557503"/>
                    <a:gd name="connsiteX17" fmla="*/ 323850 w 1232462"/>
                    <a:gd name="connsiteY17" fmla="*/ 1477696 h 1557503"/>
                    <a:gd name="connsiteX18" fmla="*/ 911904 w 1232462"/>
                    <a:gd name="connsiteY18" fmla="*/ 1478536 h 1557503"/>
                    <a:gd name="connsiteX19" fmla="*/ 1027414 w 1232462"/>
                    <a:gd name="connsiteY19" fmla="*/ 1314721 h 1557503"/>
                    <a:gd name="connsiteX20" fmla="*/ 1136204 w 1232462"/>
                    <a:gd name="connsiteY20" fmla="*/ 929546 h 1557503"/>
                    <a:gd name="connsiteX21" fmla="*/ 1222733 w 1232462"/>
                    <a:gd name="connsiteY21" fmla="*/ 583434 h 1557503"/>
                    <a:gd name="connsiteX22" fmla="*/ 645179 w 1232462"/>
                    <a:gd name="connsiteY22" fmla="*/ 10081 h 1557503"/>
                    <a:gd name="connsiteX23" fmla="*/ 630478 w 1232462"/>
                    <a:gd name="connsiteY23" fmla="*/ 10081 h 1557503"/>
                    <a:gd name="connsiteX24" fmla="*/ 616197 w 1232462"/>
                    <a:gd name="connsiteY24" fmla="*/ 10081 h 1557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232462" h="1557503">
                      <a:moveTo>
                        <a:pt x="618297" y="1557504"/>
                      </a:moveTo>
                      <a:cubicBezTo>
                        <a:pt x="509927" y="1557504"/>
                        <a:pt x="401137" y="1533561"/>
                        <a:pt x="318809" y="1485677"/>
                      </a:cubicBezTo>
                      <a:cubicBezTo>
                        <a:pt x="240682" y="1440313"/>
                        <a:pt x="197418" y="1379827"/>
                        <a:pt x="195738" y="1315561"/>
                      </a:cubicBezTo>
                      <a:cubicBezTo>
                        <a:pt x="192798" y="1171908"/>
                        <a:pt x="157935" y="1046316"/>
                        <a:pt x="92829" y="941727"/>
                      </a:cubicBezTo>
                      <a:cubicBezTo>
                        <a:pt x="31923" y="844278"/>
                        <a:pt x="0" y="731707"/>
                        <a:pt x="0" y="616617"/>
                      </a:cubicBezTo>
                      <a:cubicBezTo>
                        <a:pt x="0" y="276385"/>
                        <a:pt x="276385" y="0"/>
                        <a:pt x="616197" y="0"/>
                      </a:cubicBezTo>
                      <a:cubicBezTo>
                        <a:pt x="621237" y="0"/>
                        <a:pt x="625858" y="0"/>
                        <a:pt x="630898" y="0"/>
                      </a:cubicBezTo>
                      <a:cubicBezTo>
                        <a:pt x="635939" y="0"/>
                        <a:pt x="640559" y="0"/>
                        <a:pt x="645599" y="0"/>
                      </a:cubicBezTo>
                      <a:cubicBezTo>
                        <a:pt x="946347" y="840"/>
                        <a:pt x="1214752" y="267565"/>
                        <a:pt x="1231553" y="583014"/>
                      </a:cubicBezTo>
                      <a:cubicBezTo>
                        <a:pt x="1238274" y="707345"/>
                        <a:pt x="1207611" y="828736"/>
                        <a:pt x="1143765" y="934586"/>
                      </a:cubicBezTo>
                      <a:cubicBezTo>
                        <a:pt x="1078239" y="1042536"/>
                        <a:pt x="1042116" y="1170648"/>
                        <a:pt x="1036235" y="1315141"/>
                      </a:cubicBezTo>
                      <a:cubicBezTo>
                        <a:pt x="1033295" y="1391168"/>
                        <a:pt x="1000532" y="1437792"/>
                        <a:pt x="916104" y="1486517"/>
                      </a:cubicBezTo>
                      <a:cubicBezTo>
                        <a:pt x="833777" y="1533981"/>
                        <a:pt x="726247" y="1557504"/>
                        <a:pt x="618297" y="1557504"/>
                      </a:cubicBezTo>
                      <a:close/>
                      <a:moveTo>
                        <a:pt x="616197" y="9241"/>
                      </a:moveTo>
                      <a:cubicBezTo>
                        <a:pt x="281426" y="9241"/>
                        <a:pt x="9241" y="281426"/>
                        <a:pt x="9241" y="616197"/>
                      </a:cubicBezTo>
                      <a:cubicBezTo>
                        <a:pt x="9241" y="729607"/>
                        <a:pt x="40744" y="840497"/>
                        <a:pt x="100809" y="936266"/>
                      </a:cubicBezTo>
                      <a:cubicBezTo>
                        <a:pt x="166755" y="1042536"/>
                        <a:pt x="202039" y="1169808"/>
                        <a:pt x="205399" y="1315141"/>
                      </a:cubicBezTo>
                      <a:cubicBezTo>
                        <a:pt x="206659" y="1376467"/>
                        <a:pt x="248663" y="1434012"/>
                        <a:pt x="323850" y="1477696"/>
                      </a:cubicBezTo>
                      <a:cubicBezTo>
                        <a:pt x="485985" y="1571785"/>
                        <a:pt x="749769" y="1572205"/>
                        <a:pt x="911904" y="1478536"/>
                      </a:cubicBezTo>
                      <a:cubicBezTo>
                        <a:pt x="992971" y="1431492"/>
                        <a:pt x="1024474" y="1387388"/>
                        <a:pt x="1027414" y="1314721"/>
                      </a:cubicBezTo>
                      <a:cubicBezTo>
                        <a:pt x="1033295" y="1168548"/>
                        <a:pt x="1069838" y="1039176"/>
                        <a:pt x="1136204" y="929546"/>
                      </a:cubicBezTo>
                      <a:cubicBezTo>
                        <a:pt x="1199210" y="825376"/>
                        <a:pt x="1229033" y="706085"/>
                        <a:pt x="1222733" y="583434"/>
                      </a:cubicBezTo>
                      <a:cubicBezTo>
                        <a:pt x="1205931" y="272605"/>
                        <a:pt x="941727" y="10081"/>
                        <a:pt x="645179" y="10081"/>
                      </a:cubicBezTo>
                      <a:cubicBezTo>
                        <a:pt x="640139" y="10081"/>
                        <a:pt x="635098" y="10081"/>
                        <a:pt x="630478" y="10081"/>
                      </a:cubicBezTo>
                      <a:cubicBezTo>
                        <a:pt x="625858" y="10081"/>
                        <a:pt x="620817" y="10081"/>
                        <a:pt x="616197" y="1008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118" name="Graphic 2">
                <a:extLst>
                  <a:ext uri="{FF2B5EF4-FFF2-40B4-BE49-F238E27FC236}">
                    <a16:creationId xmlns:a16="http://schemas.microsoft.com/office/drawing/2014/main" id="{49C28978-5654-3FD7-BA99-B3D086EF875B}"/>
                  </a:ext>
                </a:extLst>
              </p:cNvPr>
              <p:cNvGrpSpPr/>
              <p:nvPr>
                <p:custDataLst>
                  <p:tags r:id="rId13"/>
                </p:custDataLst>
              </p:nvPr>
            </p:nvGrpSpPr>
            <p:grpSpPr>
              <a:xfrm>
                <a:off x="7045060" y="3238261"/>
                <a:ext cx="350986" cy="378898"/>
                <a:chOff x="4227908" y="2433884"/>
                <a:chExt cx="433060" cy="467502"/>
              </a:xfrm>
              <a:solidFill>
                <a:schemeClr val="bg1"/>
              </a:solidFill>
            </p:grpSpPr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0EA12E92-29CD-7745-F98C-A8F786B4742F}"/>
                    </a:ext>
                  </a:extLst>
                </p:cNvPr>
                <p:cNvSpPr/>
                <p:nvPr/>
              </p:nvSpPr>
              <p:spPr>
                <a:xfrm>
                  <a:off x="4274532" y="2433884"/>
                  <a:ext cx="247822" cy="234801"/>
                </a:xfrm>
                <a:custGeom>
                  <a:avLst/>
                  <a:gdLst>
                    <a:gd name="connsiteX0" fmla="*/ 39064 w 247822"/>
                    <a:gd name="connsiteY0" fmla="*/ 0 h 234801"/>
                    <a:gd name="connsiteX1" fmla="*/ 0 w 247822"/>
                    <a:gd name="connsiteY1" fmla="*/ 111310 h 234801"/>
                    <a:gd name="connsiteX2" fmla="*/ 161715 w 247822"/>
                    <a:gd name="connsiteY2" fmla="*/ 234802 h 234801"/>
                    <a:gd name="connsiteX3" fmla="*/ 247823 w 247822"/>
                    <a:gd name="connsiteY3" fmla="*/ 159195 h 234801"/>
                    <a:gd name="connsiteX4" fmla="*/ 39064 w 247822"/>
                    <a:gd name="connsiteY4" fmla="*/ 0 h 234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7822" h="234801">
                      <a:moveTo>
                        <a:pt x="39064" y="0"/>
                      </a:moveTo>
                      <a:cubicBezTo>
                        <a:pt x="26042" y="36963"/>
                        <a:pt x="13021" y="74347"/>
                        <a:pt x="0" y="111310"/>
                      </a:cubicBezTo>
                      <a:cubicBezTo>
                        <a:pt x="62166" y="140293"/>
                        <a:pt x="117191" y="182717"/>
                        <a:pt x="161715" y="234802"/>
                      </a:cubicBezTo>
                      <a:cubicBezTo>
                        <a:pt x="190278" y="209599"/>
                        <a:pt x="219260" y="184397"/>
                        <a:pt x="247823" y="159195"/>
                      </a:cubicBezTo>
                      <a:cubicBezTo>
                        <a:pt x="190698" y="92409"/>
                        <a:pt x="119291" y="37383"/>
                        <a:pt x="39064" y="0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22F8499A-635E-CA78-C5CD-9A327FA0D7F7}"/>
                    </a:ext>
                  </a:extLst>
                </p:cNvPr>
                <p:cNvSpPr/>
                <p:nvPr/>
              </p:nvSpPr>
              <p:spPr>
                <a:xfrm>
                  <a:off x="4227908" y="2567456"/>
                  <a:ext cx="191117" cy="191537"/>
                </a:xfrm>
                <a:custGeom>
                  <a:avLst/>
                  <a:gdLst>
                    <a:gd name="connsiteX0" fmla="*/ 39064 w 191117"/>
                    <a:gd name="connsiteY0" fmla="*/ 0 h 191537"/>
                    <a:gd name="connsiteX1" fmla="*/ 0 w 191117"/>
                    <a:gd name="connsiteY1" fmla="*/ 111310 h 191537"/>
                    <a:gd name="connsiteX2" fmla="*/ 105010 w 191117"/>
                    <a:gd name="connsiteY2" fmla="*/ 191538 h 191537"/>
                    <a:gd name="connsiteX3" fmla="*/ 191118 w 191117"/>
                    <a:gd name="connsiteY3" fmla="*/ 116351 h 191537"/>
                    <a:gd name="connsiteX4" fmla="*/ 39064 w 191117"/>
                    <a:gd name="connsiteY4" fmla="*/ 0 h 191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1117" h="191537">
                      <a:moveTo>
                        <a:pt x="39064" y="0"/>
                      </a:moveTo>
                      <a:cubicBezTo>
                        <a:pt x="26042" y="36963"/>
                        <a:pt x="13021" y="74347"/>
                        <a:pt x="0" y="111310"/>
                      </a:cubicBezTo>
                      <a:cubicBezTo>
                        <a:pt x="40324" y="130212"/>
                        <a:pt x="76027" y="157935"/>
                        <a:pt x="105010" y="191538"/>
                      </a:cubicBezTo>
                      <a:cubicBezTo>
                        <a:pt x="133572" y="166335"/>
                        <a:pt x="162555" y="141133"/>
                        <a:pt x="191118" y="116351"/>
                      </a:cubicBezTo>
                      <a:cubicBezTo>
                        <a:pt x="149534" y="67626"/>
                        <a:pt x="97449" y="27303"/>
                        <a:pt x="39064" y="0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CA99B26D-E864-0ED0-90B0-06A31EDBDEB1}"/>
                    </a:ext>
                  </a:extLst>
                </p:cNvPr>
                <p:cNvSpPr/>
                <p:nvPr/>
              </p:nvSpPr>
              <p:spPr>
                <a:xfrm>
                  <a:off x="4461870" y="2635922"/>
                  <a:ext cx="199098" cy="252023"/>
                </a:xfrm>
                <a:custGeom>
                  <a:avLst/>
                  <a:gdLst>
                    <a:gd name="connsiteX0" fmla="*/ 0 w 199098"/>
                    <a:gd name="connsiteY0" fmla="*/ 65526 h 252023"/>
                    <a:gd name="connsiteX1" fmla="*/ 81488 w 199098"/>
                    <a:gd name="connsiteY1" fmla="*/ 252023 h 252023"/>
                    <a:gd name="connsiteX2" fmla="*/ 199098 w 199098"/>
                    <a:gd name="connsiteY2" fmla="*/ 240682 h 252023"/>
                    <a:gd name="connsiteX3" fmla="*/ 94089 w 199098"/>
                    <a:gd name="connsiteY3" fmla="*/ 0 h 252023"/>
                    <a:gd name="connsiteX4" fmla="*/ 420 w 199098"/>
                    <a:gd name="connsiteY4" fmla="*/ 65946 h 252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9098" h="252023">
                      <a:moveTo>
                        <a:pt x="0" y="65526"/>
                      </a:moveTo>
                      <a:cubicBezTo>
                        <a:pt x="39904" y="120971"/>
                        <a:pt x="68046" y="184397"/>
                        <a:pt x="81488" y="252023"/>
                      </a:cubicBezTo>
                      <a:cubicBezTo>
                        <a:pt x="120551" y="248243"/>
                        <a:pt x="159615" y="244462"/>
                        <a:pt x="199098" y="240682"/>
                      </a:cubicBezTo>
                      <a:cubicBezTo>
                        <a:pt x="181877" y="153734"/>
                        <a:pt x="145333" y="71407"/>
                        <a:pt x="94089" y="0"/>
                      </a:cubicBezTo>
                      <a:cubicBezTo>
                        <a:pt x="63006" y="21842"/>
                        <a:pt x="31503" y="43684"/>
                        <a:pt x="420" y="65946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319F8195-F744-09B2-C13C-840B16F1CF51}"/>
                    </a:ext>
                  </a:extLst>
                </p:cNvPr>
                <p:cNvSpPr/>
                <p:nvPr/>
              </p:nvSpPr>
              <p:spPr>
                <a:xfrm>
                  <a:off x="4349719" y="2714469"/>
                  <a:ext cx="170535" cy="186917"/>
                </a:xfrm>
                <a:custGeom>
                  <a:avLst/>
                  <a:gdLst>
                    <a:gd name="connsiteX0" fmla="*/ 0 w 170535"/>
                    <a:gd name="connsiteY0" fmla="*/ 65946 h 186917"/>
                    <a:gd name="connsiteX1" fmla="*/ 52925 w 170535"/>
                    <a:gd name="connsiteY1" fmla="*/ 186917 h 186917"/>
                    <a:gd name="connsiteX2" fmla="*/ 170536 w 170535"/>
                    <a:gd name="connsiteY2" fmla="*/ 175576 h 186917"/>
                    <a:gd name="connsiteX3" fmla="*/ 94089 w 170535"/>
                    <a:gd name="connsiteY3" fmla="*/ 0 h 186917"/>
                    <a:gd name="connsiteX4" fmla="*/ 420 w 170535"/>
                    <a:gd name="connsiteY4" fmla="*/ 65946 h 186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535" h="186917">
                      <a:moveTo>
                        <a:pt x="0" y="65946"/>
                      </a:moveTo>
                      <a:cubicBezTo>
                        <a:pt x="26042" y="102069"/>
                        <a:pt x="44104" y="143233"/>
                        <a:pt x="52925" y="186917"/>
                      </a:cubicBezTo>
                      <a:cubicBezTo>
                        <a:pt x="91988" y="183137"/>
                        <a:pt x="131052" y="179357"/>
                        <a:pt x="170536" y="175576"/>
                      </a:cubicBezTo>
                      <a:cubicBezTo>
                        <a:pt x="157935" y="112150"/>
                        <a:pt x="131472" y="52085"/>
                        <a:pt x="94089" y="0"/>
                      </a:cubicBezTo>
                      <a:cubicBezTo>
                        <a:pt x="63006" y="21842"/>
                        <a:pt x="31503" y="43684"/>
                        <a:pt x="420" y="65946"/>
                      </a:cubicBezTo>
                      <a:close/>
                    </a:path>
                  </a:pathLst>
                </a:custGeom>
                <a:grpFill/>
                <a:ln w="417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A2FD226D-413C-4272-04E0-CBCB38078C60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6663425" y="3243708"/>
                <a:ext cx="586903" cy="318643"/>
              </a:xfrm>
              <a:custGeom>
                <a:avLst/>
                <a:gdLst>
                  <a:gd name="connsiteX0" fmla="*/ 362073 w 724146"/>
                  <a:gd name="connsiteY0" fmla="*/ 0 h 393156"/>
                  <a:gd name="connsiteX1" fmla="*/ 0 w 724146"/>
                  <a:gd name="connsiteY1" fmla="*/ 196578 h 393156"/>
                  <a:gd name="connsiteX2" fmla="*/ 362073 w 724146"/>
                  <a:gd name="connsiteY2" fmla="*/ 393156 h 393156"/>
                  <a:gd name="connsiteX3" fmla="*/ 724147 w 724146"/>
                  <a:gd name="connsiteY3" fmla="*/ 196578 h 393156"/>
                  <a:gd name="connsiteX4" fmla="*/ 362073 w 724146"/>
                  <a:gd name="connsiteY4" fmla="*/ 0 h 3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146" h="393156">
                    <a:moveTo>
                      <a:pt x="362073" y="0"/>
                    </a:moveTo>
                    <a:cubicBezTo>
                      <a:pt x="162135" y="0"/>
                      <a:pt x="0" y="87788"/>
                      <a:pt x="0" y="196578"/>
                    </a:cubicBezTo>
                    <a:cubicBezTo>
                      <a:pt x="0" y="305368"/>
                      <a:pt x="162135" y="393156"/>
                      <a:pt x="362073" y="393156"/>
                    </a:cubicBezTo>
                    <a:cubicBezTo>
                      <a:pt x="562012" y="393156"/>
                      <a:pt x="724147" y="305368"/>
                      <a:pt x="724147" y="196578"/>
                    </a:cubicBezTo>
                    <a:cubicBezTo>
                      <a:pt x="724147" y="87788"/>
                      <a:pt x="562432" y="0"/>
                      <a:pt x="36207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50000"/>
                </a:schemeClr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F39B15CD-998D-FEE0-8279-80E2D950002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6730490" y="3281836"/>
                <a:ext cx="452774" cy="194727"/>
              </a:xfrm>
              <a:custGeom>
                <a:avLst/>
                <a:gdLst>
                  <a:gd name="connsiteX0" fmla="*/ 279326 w 558651"/>
                  <a:gd name="connsiteY0" fmla="*/ 0 h 240262"/>
                  <a:gd name="connsiteX1" fmla="*/ 0 w 558651"/>
                  <a:gd name="connsiteY1" fmla="*/ 120131 h 240262"/>
                  <a:gd name="connsiteX2" fmla="*/ 279326 w 558651"/>
                  <a:gd name="connsiteY2" fmla="*/ 240262 h 240262"/>
                  <a:gd name="connsiteX3" fmla="*/ 558651 w 558651"/>
                  <a:gd name="connsiteY3" fmla="*/ 120131 h 240262"/>
                  <a:gd name="connsiteX4" fmla="*/ 279326 w 558651"/>
                  <a:gd name="connsiteY4" fmla="*/ 0 h 240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651" h="240262">
                    <a:moveTo>
                      <a:pt x="279326" y="0"/>
                    </a:moveTo>
                    <a:cubicBezTo>
                      <a:pt x="125172" y="0"/>
                      <a:pt x="0" y="53765"/>
                      <a:pt x="0" y="120131"/>
                    </a:cubicBezTo>
                    <a:cubicBezTo>
                      <a:pt x="0" y="186497"/>
                      <a:pt x="125172" y="240262"/>
                      <a:pt x="279326" y="240262"/>
                    </a:cubicBezTo>
                    <a:cubicBezTo>
                      <a:pt x="433480" y="240262"/>
                      <a:pt x="558651" y="186497"/>
                      <a:pt x="558651" y="120131"/>
                    </a:cubicBezTo>
                    <a:cubicBezTo>
                      <a:pt x="558651" y="53765"/>
                      <a:pt x="433480" y="0"/>
                      <a:pt x="279326" y="0"/>
                    </a:cubicBezTo>
                    <a:close/>
                  </a:path>
                </a:pathLst>
              </a:custGeom>
              <a:solidFill>
                <a:schemeClr val="bg1">
                  <a:alpha val="50000"/>
                </a:schemeClr>
              </a:solidFill>
              <a:ln w="417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BC85F231-B89F-B040-95EE-5615894FCE77}"/>
                  </a:ext>
                </a:extLst>
              </p:cNvPr>
              <p:cNvGrpSpPr/>
              <p:nvPr>
                <p:custDataLst>
                  <p:tags r:id="rId16"/>
                </p:custDataLst>
              </p:nvPr>
            </p:nvGrpSpPr>
            <p:grpSpPr>
              <a:xfrm>
                <a:off x="6663425" y="3676557"/>
                <a:ext cx="569257" cy="707795"/>
                <a:chOff x="4539779" y="2914815"/>
                <a:chExt cx="1235287" cy="1535915"/>
              </a:xfrm>
            </p:grpSpPr>
            <p:grpSp>
              <p:nvGrpSpPr>
                <p:cNvPr id="125" name="Graphic 530">
                  <a:extLst>
                    <a:ext uri="{FF2B5EF4-FFF2-40B4-BE49-F238E27FC236}">
                      <a16:creationId xmlns:a16="http://schemas.microsoft.com/office/drawing/2014/main" id="{6F6FE4AD-4A65-836F-1C7C-F399E5199B9D}"/>
                    </a:ext>
                  </a:extLst>
                </p:cNvPr>
                <p:cNvGrpSpPr/>
                <p:nvPr>
                  <p:custDataLst>
                    <p:tags r:id="rId20"/>
                  </p:custDataLst>
                </p:nvPr>
              </p:nvGrpSpPr>
              <p:grpSpPr>
                <a:xfrm>
                  <a:off x="4539779" y="3731686"/>
                  <a:ext cx="1235287" cy="719044"/>
                  <a:chOff x="8080978" y="2039345"/>
                  <a:chExt cx="582865" cy="339278"/>
                </a:xfrm>
              </p:grpSpPr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7B7143DE-D48A-1AE6-D699-D98E17D39832}"/>
                      </a:ext>
                    </a:extLst>
                  </p:cNvPr>
                  <p:cNvSpPr/>
                  <p:nvPr/>
                </p:nvSpPr>
                <p:spPr>
                  <a:xfrm>
                    <a:off x="8083130" y="2041669"/>
                    <a:ext cx="578799" cy="335162"/>
                  </a:xfrm>
                  <a:custGeom>
                    <a:avLst/>
                    <a:gdLst>
                      <a:gd name="connsiteX0" fmla="*/ 496796 w 578799"/>
                      <a:gd name="connsiteY0" fmla="*/ 51129 h 335162"/>
                      <a:gd name="connsiteX1" fmla="*/ 87725 w 578799"/>
                      <a:gd name="connsiteY1" fmla="*/ 47077 h 335162"/>
                      <a:gd name="connsiteX2" fmla="*/ 82004 w 578799"/>
                      <a:gd name="connsiteY2" fmla="*/ 284033 h 335162"/>
                      <a:gd name="connsiteX3" fmla="*/ 491075 w 578799"/>
                      <a:gd name="connsiteY3" fmla="*/ 288085 h 335162"/>
                      <a:gd name="connsiteX4" fmla="*/ 496796 w 578799"/>
                      <a:gd name="connsiteY4" fmla="*/ 51129 h 3351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8799" h="335162">
                        <a:moveTo>
                          <a:pt x="496796" y="51129"/>
                        </a:moveTo>
                        <a:cubicBezTo>
                          <a:pt x="385470" y="-15380"/>
                          <a:pt x="202151" y="-17287"/>
                          <a:pt x="87725" y="47077"/>
                        </a:cubicBezTo>
                        <a:cubicBezTo>
                          <a:pt x="-26939" y="111441"/>
                          <a:pt x="-29561" y="217523"/>
                          <a:pt x="82004" y="284033"/>
                        </a:cubicBezTo>
                        <a:cubicBezTo>
                          <a:pt x="193330" y="350543"/>
                          <a:pt x="376649" y="352450"/>
                          <a:pt x="491075" y="288085"/>
                        </a:cubicBezTo>
                        <a:cubicBezTo>
                          <a:pt x="605738" y="223721"/>
                          <a:pt x="608361" y="117639"/>
                          <a:pt x="496796" y="51129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 w="237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4685172-8D95-EFFB-D53E-CA7C9212334F}"/>
                      </a:ext>
                    </a:extLst>
                  </p:cNvPr>
                  <p:cNvSpPr/>
                  <p:nvPr/>
                </p:nvSpPr>
                <p:spPr>
                  <a:xfrm>
                    <a:off x="8080978" y="2039345"/>
                    <a:ext cx="582865" cy="339278"/>
                  </a:xfrm>
                  <a:custGeom>
                    <a:avLst/>
                    <a:gdLst>
                      <a:gd name="connsiteX0" fmla="*/ 292506 w 582865"/>
                      <a:gd name="connsiteY0" fmla="*/ 339279 h 339278"/>
                      <a:gd name="connsiteX1" fmla="*/ 82964 w 582865"/>
                      <a:gd name="connsiteY1" fmla="*/ 288026 h 339278"/>
                      <a:gd name="connsiteX2" fmla="*/ 6 w 582865"/>
                      <a:gd name="connsiteY2" fmla="*/ 167879 h 339278"/>
                      <a:gd name="connsiteX3" fmla="*/ 88685 w 582865"/>
                      <a:gd name="connsiteY3" fmla="*/ 47256 h 339278"/>
                      <a:gd name="connsiteX4" fmla="*/ 499902 w 582865"/>
                      <a:gd name="connsiteY4" fmla="*/ 51308 h 339278"/>
                      <a:gd name="connsiteX5" fmla="*/ 499902 w 582865"/>
                      <a:gd name="connsiteY5" fmla="*/ 51308 h 339278"/>
                      <a:gd name="connsiteX6" fmla="*/ 582860 w 582865"/>
                      <a:gd name="connsiteY6" fmla="*/ 171455 h 339278"/>
                      <a:gd name="connsiteX7" fmla="*/ 494180 w 582865"/>
                      <a:gd name="connsiteY7" fmla="*/ 292078 h 339278"/>
                      <a:gd name="connsiteX8" fmla="*/ 292506 w 582865"/>
                      <a:gd name="connsiteY8" fmla="*/ 339279 h 339278"/>
                      <a:gd name="connsiteX9" fmla="*/ 290599 w 582865"/>
                      <a:gd name="connsiteY9" fmla="*/ 4346 h 339278"/>
                      <a:gd name="connsiteX10" fmla="*/ 91069 w 582865"/>
                      <a:gd name="connsiteY10" fmla="*/ 51070 h 339278"/>
                      <a:gd name="connsiteX11" fmla="*/ 4535 w 582865"/>
                      <a:gd name="connsiteY11" fmla="*/ 167879 h 339278"/>
                      <a:gd name="connsiteX12" fmla="*/ 85348 w 582865"/>
                      <a:gd name="connsiteY12" fmla="*/ 284212 h 339278"/>
                      <a:gd name="connsiteX13" fmla="*/ 492273 w 582865"/>
                      <a:gd name="connsiteY13" fmla="*/ 288264 h 339278"/>
                      <a:gd name="connsiteX14" fmla="*/ 578807 w 582865"/>
                      <a:gd name="connsiteY14" fmla="*/ 171455 h 339278"/>
                      <a:gd name="connsiteX15" fmla="*/ 497995 w 582865"/>
                      <a:gd name="connsiteY15" fmla="*/ 55122 h 339278"/>
                      <a:gd name="connsiteX16" fmla="*/ 497995 w 582865"/>
                      <a:gd name="connsiteY16" fmla="*/ 55122 h 339278"/>
                      <a:gd name="connsiteX17" fmla="*/ 290599 w 582865"/>
                      <a:gd name="connsiteY17" fmla="*/ 4346 h 3392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82865" h="339278">
                        <a:moveTo>
                          <a:pt x="292506" y="339279"/>
                        </a:moveTo>
                        <a:cubicBezTo>
                          <a:pt x="216222" y="339279"/>
                          <a:pt x="140177" y="322115"/>
                          <a:pt x="82964" y="288026"/>
                        </a:cubicBezTo>
                        <a:cubicBezTo>
                          <a:pt x="28850" y="255605"/>
                          <a:pt x="-471" y="212934"/>
                          <a:pt x="6" y="167879"/>
                        </a:cubicBezTo>
                        <a:cubicBezTo>
                          <a:pt x="721" y="121871"/>
                          <a:pt x="32188" y="79199"/>
                          <a:pt x="88685" y="47256"/>
                        </a:cubicBezTo>
                        <a:cubicBezTo>
                          <a:pt x="203588" y="-17347"/>
                          <a:pt x="388099" y="-15440"/>
                          <a:pt x="499902" y="51308"/>
                        </a:cubicBezTo>
                        <a:lnTo>
                          <a:pt x="499902" y="51308"/>
                        </a:lnTo>
                        <a:cubicBezTo>
                          <a:pt x="554015" y="83729"/>
                          <a:pt x="583337" y="126400"/>
                          <a:pt x="582860" y="171455"/>
                        </a:cubicBezTo>
                        <a:cubicBezTo>
                          <a:pt x="582145" y="217463"/>
                          <a:pt x="550678" y="260135"/>
                          <a:pt x="494180" y="292078"/>
                        </a:cubicBezTo>
                        <a:cubicBezTo>
                          <a:pt x="437921" y="323545"/>
                          <a:pt x="365213" y="339279"/>
                          <a:pt x="292506" y="339279"/>
                        </a:cubicBezTo>
                        <a:close/>
                        <a:moveTo>
                          <a:pt x="290599" y="4346"/>
                        </a:moveTo>
                        <a:cubicBezTo>
                          <a:pt x="218606" y="4346"/>
                          <a:pt x="146613" y="19841"/>
                          <a:pt x="91069" y="51070"/>
                        </a:cubicBezTo>
                        <a:cubicBezTo>
                          <a:pt x="35764" y="82060"/>
                          <a:pt x="5012" y="123539"/>
                          <a:pt x="4535" y="167879"/>
                        </a:cubicBezTo>
                        <a:cubicBezTo>
                          <a:pt x="4058" y="211504"/>
                          <a:pt x="32665" y="252745"/>
                          <a:pt x="85348" y="284212"/>
                        </a:cubicBezTo>
                        <a:cubicBezTo>
                          <a:pt x="195959" y="350245"/>
                          <a:pt x="378563" y="352152"/>
                          <a:pt x="492273" y="288264"/>
                        </a:cubicBezTo>
                        <a:cubicBezTo>
                          <a:pt x="547579" y="257274"/>
                          <a:pt x="578092" y="215795"/>
                          <a:pt x="578807" y="171455"/>
                        </a:cubicBezTo>
                        <a:cubicBezTo>
                          <a:pt x="579284" y="127830"/>
                          <a:pt x="550678" y="86589"/>
                          <a:pt x="497995" y="55122"/>
                        </a:cubicBezTo>
                        <a:lnTo>
                          <a:pt x="497995" y="55122"/>
                        </a:lnTo>
                        <a:cubicBezTo>
                          <a:pt x="441497" y="21272"/>
                          <a:pt x="365929" y="4346"/>
                          <a:pt x="290599" y="434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 w="237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26" name="Graphic 530">
                  <a:extLst>
                    <a:ext uri="{FF2B5EF4-FFF2-40B4-BE49-F238E27FC236}">
                      <a16:creationId xmlns:a16="http://schemas.microsoft.com/office/drawing/2014/main" id="{4C0193B1-AFCC-4E0C-A010-75686DB86BBF}"/>
                    </a:ext>
                  </a:extLst>
                </p:cNvPr>
                <p:cNvGrpSpPr/>
                <p:nvPr>
                  <p:custDataLst>
                    <p:tags r:id="rId21"/>
                  </p:custDataLst>
                </p:nvPr>
              </p:nvGrpSpPr>
              <p:grpSpPr>
                <a:xfrm>
                  <a:off x="4845458" y="2914815"/>
                  <a:ext cx="615076" cy="1299475"/>
                  <a:chOff x="8225185" y="1653906"/>
                  <a:chExt cx="290220" cy="613152"/>
                </a:xfrm>
              </p:grpSpPr>
              <p:grpSp>
                <p:nvGrpSpPr>
                  <p:cNvPr id="127" name="Graphic 530">
                    <a:extLst>
                      <a:ext uri="{FF2B5EF4-FFF2-40B4-BE49-F238E27FC236}">
                        <a16:creationId xmlns:a16="http://schemas.microsoft.com/office/drawing/2014/main" id="{96CC3919-074D-E4B8-81B4-B158DA44CA95}"/>
                      </a:ext>
                    </a:extLst>
                  </p:cNvPr>
                  <p:cNvGrpSpPr/>
                  <p:nvPr/>
                </p:nvGrpSpPr>
                <p:grpSpPr>
                  <a:xfrm>
                    <a:off x="8313172" y="1958825"/>
                    <a:ext cx="112518" cy="308233"/>
                    <a:chOff x="8313172" y="1958825"/>
                    <a:chExt cx="112518" cy="308233"/>
                  </a:xfrm>
                </p:grpSpPr>
                <p:sp>
                  <p:nvSpPr>
                    <p:cNvPr id="134" name="Freeform: Shape 133">
                      <a:extLst>
                        <a:ext uri="{FF2B5EF4-FFF2-40B4-BE49-F238E27FC236}">
                          <a16:creationId xmlns:a16="http://schemas.microsoft.com/office/drawing/2014/main" id="{8FFE09A0-4399-BF54-48D5-3EF5FBC6AD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15556" y="1959302"/>
                      <a:ext cx="107512" cy="305793"/>
                    </a:xfrm>
                    <a:custGeom>
                      <a:avLst/>
                      <a:gdLst>
                        <a:gd name="connsiteX0" fmla="*/ 106797 w 107512"/>
                        <a:gd name="connsiteY0" fmla="*/ 71278 h 305793"/>
                        <a:gd name="connsiteX1" fmla="*/ 82243 w 107512"/>
                        <a:gd name="connsiteY1" fmla="*/ 0 h 305793"/>
                        <a:gd name="connsiteX2" fmla="*/ 74615 w 107512"/>
                        <a:gd name="connsiteY2" fmla="*/ 15018 h 305793"/>
                        <a:gd name="connsiteX3" fmla="*/ 33374 w 107512"/>
                        <a:gd name="connsiteY3" fmla="*/ 15495 h 305793"/>
                        <a:gd name="connsiteX4" fmla="*/ 25031 w 107512"/>
                        <a:gd name="connsiteY4" fmla="*/ 238 h 305793"/>
                        <a:gd name="connsiteX5" fmla="*/ 954 w 107512"/>
                        <a:gd name="connsiteY5" fmla="*/ 71754 h 305793"/>
                        <a:gd name="connsiteX6" fmla="*/ 0 w 107512"/>
                        <a:gd name="connsiteY6" fmla="*/ 78667 h 305793"/>
                        <a:gd name="connsiteX7" fmla="*/ 0 w 107512"/>
                        <a:gd name="connsiteY7" fmla="*/ 77714 h 305793"/>
                        <a:gd name="connsiteX8" fmla="*/ 0 w 107512"/>
                        <a:gd name="connsiteY8" fmla="*/ 274621 h 305793"/>
                        <a:gd name="connsiteX9" fmla="*/ 15972 w 107512"/>
                        <a:gd name="connsiteY9" fmla="*/ 297029 h 305793"/>
                        <a:gd name="connsiteX10" fmla="*/ 92255 w 107512"/>
                        <a:gd name="connsiteY10" fmla="*/ 296314 h 305793"/>
                        <a:gd name="connsiteX11" fmla="*/ 107512 w 107512"/>
                        <a:gd name="connsiteY11" fmla="*/ 274383 h 305793"/>
                        <a:gd name="connsiteX12" fmla="*/ 107512 w 107512"/>
                        <a:gd name="connsiteY12" fmla="*/ 77476 h 305793"/>
                        <a:gd name="connsiteX13" fmla="*/ 107512 w 107512"/>
                        <a:gd name="connsiteY13" fmla="*/ 78191 h 305793"/>
                        <a:gd name="connsiteX14" fmla="*/ 106559 w 107512"/>
                        <a:gd name="connsiteY14" fmla="*/ 71278 h 3057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107512" h="305793">
                          <a:moveTo>
                            <a:pt x="106797" y="71278"/>
                          </a:moveTo>
                          <a:lnTo>
                            <a:pt x="82243" y="0"/>
                          </a:lnTo>
                          <a:cubicBezTo>
                            <a:pt x="84150" y="5245"/>
                            <a:pt x="81528" y="10966"/>
                            <a:pt x="74615" y="15018"/>
                          </a:cubicBezTo>
                          <a:cubicBezTo>
                            <a:pt x="63411" y="21693"/>
                            <a:pt x="44817" y="21932"/>
                            <a:pt x="33374" y="15495"/>
                          </a:cubicBezTo>
                          <a:cubicBezTo>
                            <a:pt x="25984" y="11443"/>
                            <a:pt x="23362" y="5483"/>
                            <a:pt x="25031" y="238"/>
                          </a:cubicBezTo>
                          <a:lnTo>
                            <a:pt x="954" y="71754"/>
                          </a:lnTo>
                          <a:cubicBezTo>
                            <a:pt x="238" y="74138"/>
                            <a:pt x="0" y="76284"/>
                            <a:pt x="0" y="78667"/>
                          </a:cubicBezTo>
                          <a:cubicBezTo>
                            <a:pt x="0" y="78429"/>
                            <a:pt x="0" y="77952"/>
                            <a:pt x="0" y="77714"/>
                          </a:cubicBezTo>
                          <a:lnTo>
                            <a:pt x="0" y="274621"/>
                          </a:lnTo>
                          <a:cubicBezTo>
                            <a:pt x="0" y="282726"/>
                            <a:pt x="5245" y="290831"/>
                            <a:pt x="15972" y="297029"/>
                          </a:cubicBezTo>
                          <a:cubicBezTo>
                            <a:pt x="37427" y="308949"/>
                            <a:pt x="71516" y="308710"/>
                            <a:pt x="92255" y="296314"/>
                          </a:cubicBezTo>
                          <a:cubicBezTo>
                            <a:pt x="102506" y="290116"/>
                            <a:pt x="107512" y="282249"/>
                            <a:pt x="107512" y="274383"/>
                          </a:cubicBezTo>
                          <a:lnTo>
                            <a:pt x="107512" y="77476"/>
                          </a:lnTo>
                          <a:cubicBezTo>
                            <a:pt x="107512" y="77476"/>
                            <a:pt x="107512" y="77952"/>
                            <a:pt x="107512" y="78191"/>
                          </a:cubicBezTo>
                          <a:cubicBezTo>
                            <a:pt x="107512" y="75807"/>
                            <a:pt x="107512" y="73661"/>
                            <a:pt x="106559" y="71278"/>
                          </a:cubicBezTo>
                          <a:close/>
                        </a:path>
                      </a:pathLst>
                    </a:custGeom>
                    <a:solidFill>
                      <a:srgbClr val="DBE0E6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5" name="Freeform: Shape 134">
                      <a:extLst>
                        <a:ext uri="{FF2B5EF4-FFF2-40B4-BE49-F238E27FC236}">
                          <a16:creationId xmlns:a16="http://schemas.microsoft.com/office/drawing/2014/main" id="{A919FC94-AA74-98A3-1F68-1AE9058684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13172" y="1958825"/>
                      <a:ext cx="112518" cy="308233"/>
                    </a:xfrm>
                    <a:custGeom>
                      <a:avLst/>
                      <a:gdLst>
                        <a:gd name="connsiteX0" fmla="*/ 55782 w 112518"/>
                        <a:gd name="connsiteY0" fmla="*/ 308233 h 308233"/>
                        <a:gd name="connsiteX1" fmla="*/ 17402 w 112518"/>
                        <a:gd name="connsiteY1" fmla="*/ 299175 h 308233"/>
                        <a:gd name="connsiteX2" fmla="*/ 0 w 112518"/>
                        <a:gd name="connsiteY2" fmla="*/ 275098 h 308233"/>
                        <a:gd name="connsiteX3" fmla="*/ 0 w 112518"/>
                        <a:gd name="connsiteY3" fmla="*/ 78191 h 308233"/>
                        <a:gd name="connsiteX4" fmla="*/ 1430 w 112518"/>
                        <a:gd name="connsiteY4" fmla="*/ 71516 h 308233"/>
                        <a:gd name="connsiteX5" fmla="*/ 25507 w 112518"/>
                        <a:gd name="connsiteY5" fmla="*/ 0 h 308233"/>
                        <a:gd name="connsiteX6" fmla="*/ 29560 w 112518"/>
                        <a:gd name="connsiteY6" fmla="*/ 1430 h 308233"/>
                        <a:gd name="connsiteX7" fmla="*/ 29560 w 112518"/>
                        <a:gd name="connsiteY7" fmla="*/ 1430 h 308233"/>
                        <a:gd name="connsiteX8" fmla="*/ 36950 w 112518"/>
                        <a:gd name="connsiteY8" fmla="*/ 14303 h 308233"/>
                        <a:gd name="connsiteX9" fmla="*/ 76045 w 112518"/>
                        <a:gd name="connsiteY9" fmla="*/ 13826 h 308233"/>
                        <a:gd name="connsiteX10" fmla="*/ 82720 w 112518"/>
                        <a:gd name="connsiteY10" fmla="*/ 1430 h 308233"/>
                        <a:gd name="connsiteX11" fmla="*/ 82720 w 112518"/>
                        <a:gd name="connsiteY11" fmla="*/ 1430 h 308233"/>
                        <a:gd name="connsiteX12" fmla="*/ 86773 w 112518"/>
                        <a:gd name="connsiteY12" fmla="*/ 0 h 308233"/>
                        <a:gd name="connsiteX13" fmla="*/ 86773 w 112518"/>
                        <a:gd name="connsiteY13" fmla="*/ 0 h 308233"/>
                        <a:gd name="connsiteX14" fmla="*/ 111326 w 112518"/>
                        <a:gd name="connsiteY14" fmla="*/ 71278 h 308233"/>
                        <a:gd name="connsiteX15" fmla="*/ 112518 w 112518"/>
                        <a:gd name="connsiteY15" fmla="*/ 77952 h 308233"/>
                        <a:gd name="connsiteX16" fmla="*/ 112518 w 112518"/>
                        <a:gd name="connsiteY16" fmla="*/ 77952 h 308233"/>
                        <a:gd name="connsiteX17" fmla="*/ 112518 w 112518"/>
                        <a:gd name="connsiteY17" fmla="*/ 274859 h 308233"/>
                        <a:gd name="connsiteX18" fmla="*/ 95831 w 112518"/>
                        <a:gd name="connsiteY18" fmla="*/ 298460 h 308233"/>
                        <a:gd name="connsiteX19" fmla="*/ 55782 w 112518"/>
                        <a:gd name="connsiteY19" fmla="*/ 308233 h 308233"/>
                        <a:gd name="connsiteX20" fmla="*/ 4529 w 112518"/>
                        <a:gd name="connsiteY20" fmla="*/ 78906 h 308233"/>
                        <a:gd name="connsiteX21" fmla="*/ 4529 w 112518"/>
                        <a:gd name="connsiteY21" fmla="*/ 275098 h 308233"/>
                        <a:gd name="connsiteX22" fmla="*/ 19548 w 112518"/>
                        <a:gd name="connsiteY22" fmla="*/ 295599 h 308233"/>
                        <a:gd name="connsiteX23" fmla="*/ 93686 w 112518"/>
                        <a:gd name="connsiteY23" fmla="*/ 294884 h 308233"/>
                        <a:gd name="connsiteX24" fmla="*/ 107989 w 112518"/>
                        <a:gd name="connsiteY24" fmla="*/ 274859 h 308233"/>
                        <a:gd name="connsiteX25" fmla="*/ 107989 w 112518"/>
                        <a:gd name="connsiteY25" fmla="*/ 78667 h 308233"/>
                        <a:gd name="connsiteX26" fmla="*/ 107989 w 112518"/>
                        <a:gd name="connsiteY26" fmla="*/ 78667 h 308233"/>
                        <a:gd name="connsiteX27" fmla="*/ 107035 w 112518"/>
                        <a:gd name="connsiteY27" fmla="*/ 72708 h 308233"/>
                        <a:gd name="connsiteX28" fmla="*/ 85581 w 112518"/>
                        <a:gd name="connsiteY28" fmla="*/ 10251 h 308233"/>
                        <a:gd name="connsiteX29" fmla="*/ 77952 w 112518"/>
                        <a:gd name="connsiteY29" fmla="*/ 17641 h 308233"/>
                        <a:gd name="connsiteX30" fmla="*/ 34566 w 112518"/>
                        <a:gd name="connsiteY30" fmla="*/ 18117 h 308233"/>
                        <a:gd name="connsiteX31" fmla="*/ 26222 w 112518"/>
                        <a:gd name="connsiteY31" fmla="*/ 10489 h 308233"/>
                        <a:gd name="connsiteX32" fmla="*/ 5244 w 112518"/>
                        <a:gd name="connsiteY32" fmla="*/ 72946 h 308233"/>
                        <a:gd name="connsiteX33" fmla="*/ 4529 w 112518"/>
                        <a:gd name="connsiteY33" fmla="*/ 79144 h 308233"/>
                        <a:gd name="connsiteX34" fmla="*/ 4529 w 112518"/>
                        <a:gd name="connsiteY34" fmla="*/ 79144 h 3082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112518" h="308233">
                          <a:moveTo>
                            <a:pt x="55782" y="308233"/>
                          </a:moveTo>
                          <a:cubicBezTo>
                            <a:pt x="41956" y="308233"/>
                            <a:pt x="28130" y="305373"/>
                            <a:pt x="17402" y="299175"/>
                          </a:cubicBezTo>
                          <a:cubicBezTo>
                            <a:pt x="6198" y="292977"/>
                            <a:pt x="0" y="284395"/>
                            <a:pt x="0" y="275098"/>
                          </a:cubicBezTo>
                          <a:lnTo>
                            <a:pt x="0" y="78191"/>
                          </a:lnTo>
                          <a:cubicBezTo>
                            <a:pt x="238" y="75807"/>
                            <a:pt x="715" y="73661"/>
                            <a:pt x="1430" y="71516"/>
                          </a:cubicBezTo>
                          <a:lnTo>
                            <a:pt x="25507" y="0"/>
                          </a:lnTo>
                          <a:lnTo>
                            <a:pt x="29560" y="1430"/>
                          </a:lnTo>
                          <a:lnTo>
                            <a:pt x="29560" y="1430"/>
                          </a:lnTo>
                          <a:cubicBezTo>
                            <a:pt x="28130" y="5960"/>
                            <a:pt x="30752" y="10727"/>
                            <a:pt x="36950" y="14303"/>
                          </a:cubicBezTo>
                          <a:cubicBezTo>
                            <a:pt x="47916" y="20501"/>
                            <a:pt x="65318" y="20263"/>
                            <a:pt x="76045" y="13826"/>
                          </a:cubicBezTo>
                          <a:cubicBezTo>
                            <a:pt x="81766" y="10251"/>
                            <a:pt x="84389" y="5721"/>
                            <a:pt x="82720" y="1430"/>
                          </a:cubicBezTo>
                          <a:lnTo>
                            <a:pt x="82720" y="1430"/>
                          </a:lnTo>
                          <a:lnTo>
                            <a:pt x="86773" y="0"/>
                          </a:lnTo>
                          <a:lnTo>
                            <a:pt x="86773" y="0"/>
                          </a:lnTo>
                          <a:lnTo>
                            <a:pt x="111326" y="71278"/>
                          </a:lnTo>
                          <a:cubicBezTo>
                            <a:pt x="112042" y="73423"/>
                            <a:pt x="112518" y="75807"/>
                            <a:pt x="112518" y="77952"/>
                          </a:cubicBezTo>
                          <a:lnTo>
                            <a:pt x="112518" y="77952"/>
                          </a:lnTo>
                          <a:lnTo>
                            <a:pt x="112518" y="274859"/>
                          </a:lnTo>
                          <a:cubicBezTo>
                            <a:pt x="112518" y="283918"/>
                            <a:pt x="106559" y="292262"/>
                            <a:pt x="95831" y="298460"/>
                          </a:cubicBezTo>
                          <a:cubicBezTo>
                            <a:pt x="84865" y="304896"/>
                            <a:pt x="70324" y="308233"/>
                            <a:pt x="55782" y="308233"/>
                          </a:cubicBezTo>
                          <a:close/>
                          <a:moveTo>
                            <a:pt x="4529" y="78906"/>
                          </a:moveTo>
                          <a:lnTo>
                            <a:pt x="4529" y="275098"/>
                          </a:lnTo>
                          <a:cubicBezTo>
                            <a:pt x="4529" y="282726"/>
                            <a:pt x="9774" y="290116"/>
                            <a:pt x="19548" y="295599"/>
                          </a:cubicBezTo>
                          <a:cubicBezTo>
                            <a:pt x="40287" y="307280"/>
                            <a:pt x="73423" y="306803"/>
                            <a:pt x="93686" y="294884"/>
                          </a:cubicBezTo>
                          <a:cubicBezTo>
                            <a:pt x="102983" y="289401"/>
                            <a:pt x="107989" y="282249"/>
                            <a:pt x="107989" y="274859"/>
                          </a:cubicBezTo>
                          <a:lnTo>
                            <a:pt x="107989" y="78667"/>
                          </a:lnTo>
                          <a:lnTo>
                            <a:pt x="107989" y="78667"/>
                          </a:lnTo>
                          <a:cubicBezTo>
                            <a:pt x="107989" y="76522"/>
                            <a:pt x="107989" y="74615"/>
                            <a:pt x="107035" y="72708"/>
                          </a:cubicBezTo>
                          <a:lnTo>
                            <a:pt x="85581" y="10251"/>
                          </a:lnTo>
                          <a:cubicBezTo>
                            <a:pt x="84150" y="12873"/>
                            <a:pt x="81528" y="15495"/>
                            <a:pt x="77952" y="17641"/>
                          </a:cubicBezTo>
                          <a:cubicBezTo>
                            <a:pt x="66033" y="24792"/>
                            <a:pt x="46724" y="24792"/>
                            <a:pt x="34566" y="18117"/>
                          </a:cubicBezTo>
                          <a:cubicBezTo>
                            <a:pt x="30752" y="15972"/>
                            <a:pt x="27891" y="13350"/>
                            <a:pt x="26222" y="10489"/>
                          </a:cubicBezTo>
                          <a:lnTo>
                            <a:pt x="5244" y="72946"/>
                          </a:lnTo>
                          <a:cubicBezTo>
                            <a:pt x="4529" y="74853"/>
                            <a:pt x="4291" y="76999"/>
                            <a:pt x="4529" y="79144"/>
                          </a:cubicBezTo>
                          <a:lnTo>
                            <a:pt x="4529" y="79144"/>
                          </a:ln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28" name="Graphic 530">
                    <a:extLst>
                      <a:ext uri="{FF2B5EF4-FFF2-40B4-BE49-F238E27FC236}">
                        <a16:creationId xmlns:a16="http://schemas.microsoft.com/office/drawing/2014/main" id="{87B6E685-4F8F-0051-8402-E45C9531921F}"/>
                      </a:ext>
                    </a:extLst>
                  </p:cNvPr>
                  <p:cNvGrpSpPr/>
                  <p:nvPr/>
                </p:nvGrpSpPr>
                <p:grpSpPr>
                  <a:xfrm>
                    <a:off x="8337964" y="1943626"/>
                    <a:ext cx="62695" cy="38083"/>
                    <a:chOff x="8337964" y="1943626"/>
                    <a:chExt cx="62695" cy="38083"/>
                  </a:xfrm>
                </p:grpSpPr>
                <p:sp>
                  <p:nvSpPr>
                    <p:cNvPr id="132" name="Freeform: Shape 131">
                      <a:extLst>
                        <a:ext uri="{FF2B5EF4-FFF2-40B4-BE49-F238E27FC236}">
                          <a16:creationId xmlns:a16="http://schemas.microsoft.com/office/drawing/2014/main" id="{ECD501CA-CF05-76E5-7F18-7FB6957FB3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40197" y="1945800"/>
                      <a:ext cx="58230" cy="33679"/>
                    </a:xfrm>
                    <a:custGeom>
                      <a:avLst/>
                      <a:gdLst>
                        <a:gd name="connsiteX0" fmla="*/ 49497 w 58230"/>
                        <a:gd name="connsiteY0" fmla="*/ 4682 h 33679"/>
                        <a:gd name="connsiteX1" fmla="*/ 8256 w 58230"/>
                        <a:gd name="connsiteY1" fmla="*/ 5159 h 33679"/>
                        <a:gd name="connsiteX2" fmla="*/ 8733 w 58230"/>
                        <a:gd name="connsiteY2" fmla="*/ 28997 h 33679"/>
                        <a:gd name="connsiteX3" fmla="*/ 49974 w 58230"/>
                        <a:gd name="connsiteY3" fmla="*/ 28521 h 33679"/>
                        <a:gd name="connsiteX4" fmla="*/ 49497 w 58230"/>
                        <a:gd name="connsiteY4" fmla="*/ 4682 h 336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230" h="33679">
                          <a:moveTo>
                            <a:pt x="49497" y="4682"/>
                          </a:moveTo>
                          <a:cubicBezTo>
                            <a:pt x="38055" y="-1754"/>
                            <a:pt x="19460" y="-1516"/>
                            <a:pt x="8256" y="5159"/>
                          </a:cubicBezTo>
                          <a:cubicBezTo>
                            <a:pt x="-2948" y="11834"/>
                            <a:pt x="-2710" y="22561"/>
                            <a:pt x="8733" y="28997"/>
                          </a:cubicBezTo>
                          <a:cubicBezTo>
                            <a:pt x="20414" y="35434"/>
                            <a:pt x="38770" y="35195"/>
                            <a:pt x="49974" y="28521"/>
                          </a:cubicBezTo>
                          <a:cubicBezTo>
                            <a:pt x="61178" y="21846"/>
                            <a:pt x="60940" y="11118"/>
                            <a:pt x="49497" y="4682"/>
                          </a:cubicBezTo>
                          <a:close/>
                        </a:path>
                      </a:pathLst>
                    </a:custGeom>
                    <a:solidFill>
                      <a:srgbClr val="96999E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3" name="Freeform: Shape 132">
                      <a:extLst>
                        <a:ext uri="{FF2B5EF4-FFF2-40B4-BE49-F238E27FC236}">
                          <a16:creationId xmlns:a16="http://schemas.microsoft.com/office/drawing/2014/main" id="{42A843B6-2255-8F29-66EB-FF4CF506E3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37964" y="1943626"/>
                      <a:ext cx="62695" cy="38083"/>
                    </a:xfrm>
                    <a:custGeom>
                      <a:avLst/>
                      <a:gdLst>
                        <a:gd name="connsiteX0" fmla="*/ 31229 w 62695"/>
                        <a:gd name="connsiteY0" fmla="*/ 38084 h 38083"/>
                        <a:gd name="connsiteX1" fmla="*/ 10012 w 62695"/>
                        <a:gd name="connsiteY1" fmla="*/ 33078 h 38083"/>
                        <a:gd name="connsiteX2" fmla="*/ 0 w 62695"/>
                        <a:gd name="connsiteY2" fmla="*/ 19251 h 38083"/>
                        <a:gd name="connsiteX3" fmla="*/ 9297 w 62695"/>
                        <a:gd name="connsiteY3" fmla="*/ 5425 h 38083"/>
                        <a:gd name="connsiteX4" fmla="*/ 52683 w 62695"/>
                        <a:gd name="connsiteY4" fmla="*/ 4948 h 38083"/>
                        <a:gd name="connsiteX5" fmla="*/ 52683 w 62695"/>
                        <a:gd name="connsiteY5" fmla="*/ 4948 h 38083"/>
                        <a:gd name="connsiteX6" fmla="*/ 62696 w 62695"/>
                        <a:gd name="connsiteY6" fmla="*/ 18774 h 38083"/>
                        <a:gd name="connsiteX7" fmla="*/ 53399 w 62695"/>
                        <a:gd name="connsiteY7" fmla="*/ 32601 h 38083"/>
                        <a:gd name="connsiteX8" fmla="*/ 31229 w 62695"/>
                        <a:gd name="connsiteY8" fmla="*/ 38084 h 38083"/>
                        <a:gd name="connsiteX9" fmla="*/ 31229 w 62695"/>
                        <a:gd name="connsiteY9" fmla="*/ 4233 h 38083"/>
                        <a:gd name="connsiteX10" fmla="*/ 11204 w 62695"/>
                        <a:gd name="connsiteY10" fmla="*/ 9001 h 38083"/>
                        <a:gd name="connsiteX11" fmla="*/ 4053 w 62695"/>
                        <a:gd name="connsiteY11" fmla="*/ 19013 h 38083"/>
                        <a:gd name="connsiteX12" fmla="*/ 11919 w 62695"/>
                        <a:gd name="connsiteY12" fmla="*/ 29025 h 38083"/>
                        <a:gd name="connsiteX13" fmla="*/ 51015 w 62695"/>
                        <a:gd name="connsiteY13" fmla="*/ 28548 h 38083"/>
                        <a:gd name="connsiteX14" fmla="*/ 58166 w 62695"/>
                        <a:gd name="connsiteY14" fmla="*/ 18536 h 38083"/>
                        <a:gd name="connsiteX15" fmla="*/ 50538 w 62695"/>
                        <a:gd name="connsiteY15" fmla="*/ 8524 h 38083"/>
                        <a:gd name="connsiteX16" fmla="*/ 50538 w 62695"/>
                        <a:gd name="connsiteY16" fmla="*/ 8524 h 38083"/>
                        <a:gd name="connsiteX17" fmla="*/ 31229 w 62695"/>
                        <a:gd name="connsiteY17" fmla="*/ 3995 h 380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62695" h="38083">
                          <a:moveTo>
                            <a:pt x="31229" y="38084"/>
                          </a:moveTo>
                          <a:cubicBezTo>
                            <a:pt x="23600" y="38084"/>
                            <a:pt x="15972" y="36415"/>
                            <a:pt x="10012" y="33078"/>
                          </a:cubicBezTo>
                          <a:cubicBezTo>
                            <a:pt x="3576" y="29502"/>
                            <a:pt x="238" y="24496"/>
                            <a:pt x="0" y="19251"/>
                          </a:cubicBezTo>
                          <a:cubicBezTo>
                            <a:pt x="0" y="14007"/>
                            <a:pt x="3337" y="9001"/>
                            <a:pt x="9297" y="5425"/>
                          </a:cubicBezTo>
                          <a:cubicBezTo>
                            <a:pt x="21216" y="-1727"/>
                            <a:pt x="40526" y="-1727"/>
                            <a:pt x="52683" y="4948"/>
                          </a:cubicBezTo>
                          <a:lnTo>
                            <a:pt x="52683" y="4948"/>
                          </a:lnTo>
                          <a:cubicBezTo>
                            <a:pt x="59120" y="8524"/>
                            <a:pt x="62457" y="13292"/>
                            <a:pt x="62696" y="18774"/>
                          </a:cubicBezTo>
                          <a:cubicBezTo>
                            <a:pt x="62696" y="24019"/>
                            <a:pt x="59358" y="29025"/>
                            <a:pt x="53399" y="32601"/>
                          </a:cubicBezTo>
                          <a:cubicBezTo>
                            <a:pt x="47439" y="36177"/>
                            <a:pt x="39334" y="38084"/>
                            <a:pt x="31229" y="38084"/>
                          </a:cubicBezTo>
                          <a:close/>
                          <a:moveTo>
                            <a:pt x="31229" y="4233"/>
                          </a:moveTo>
                          <a:cubicBezTo>
                            <a:pt x="24077" y="4233"/>
                            <a:pt x="16687" y="5902"/>
                            <a:pt x="11204" y="9001"/>
                          </a:cubicBezTo>
                          <a:cubicBezTo>
                            <a:pt x="6436" y="11861"/>
                            <a:pt x="4053" y="15437"/>
                            <a:pt x="4053" y="19013"/>
                          </a:cubicBezTo>
                          <a:cubicBezTo>
                            <a:pt x="4053" y="22827"/>
                            <a:pt x="6913" y="26403"/>
                            <a:pt x="11919" y="29025"/>
                          </a:cubicBezTo>
                          <a:cubicBezTo>
                            <a:pt x="22885" y="35223"/>
                            <a:pt x="40287" y="34985"/>
                            <a:pt x="51015" y="28548"/>
                          </a:cubicBezTo>
                          <a:cubicBezTo>
                            <a:pt x="55782" y="25688"/>
                            <a:pt x="58166" y="22112"/>
                            <a:pt x="58166" y="18536"/>
                          </a:cubicBezTo>
                          <a:cubicBezTo>
                            <a:pt x="58166" y="14722"/>
                            <a:pt x="55306" y="11146"/>
                            <a:pt x="50538" y="8524"/>
                          </a:cubicBezTo>
                          <a:lnTo>
                            <a:pt x="50538" y="8524"/>
                          </a:lnTo>
                          <a:cubicBezTo>
                            <a:pt x="45293" y="5425"/>
                            <a:pt x="38142" y="3995"/>
                            <a:pt x="31229" y="3995"/>
                          </a:cubicBez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29" name="Graphic 530">
                    <a:extLst>
                      <a:ext uri="{FF2B5EF4-FFF2-40B4-BE49-F238E27FC236}">
                        <a16:creationId xmlns:a16="http://schemas.microsoft.com/office/drawing/2014/main" id="{F8C24B3D-BBCF-B788-90FB-973C3AA486B4}"/>
                      </a:ext>
                    </a:extLst>
                  </p:cNvPr>
                  <p:cNvGrpSpPr/>
                  <p:nvPr/>
                </p:nvGrpSpPr>
                <p:grpSpPr>
                  <a:xfrm>
                    <a:off x="8225185" y="1653906"/>
                    <a:ext cx="290220" cy="318507"/>
                    <a:chOff x="8225185" y="1653906"/>
                    <a:chExt cx="290220" cy="318507"/>
                  </a:xfrm>
                  <a:solidFill>
                    <a:srgbClr val="3A3A3A"/>
                  </a:solidFill>
                </p:grpSpPr>
                <p:sp>
                  <p:nvSpPr>
                    <p:cNvPr id="130" name="Freeform: Shape 129">
                      <a:extLst>
                        <a:ext uri="{FF2B5EF4-FFF2-40B4-BE49-F238E27FC236}">
                          <a16:creationId xmlns:a16="http://schemas.microsoft.com/office/drawing/2014/main" id="{090B8485-5120-4783-E958-21B9A9A7D5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77775" y="1816721"/>
                      <a:ext cx="137630" cy="155692"/>
                    </a:xfrm>
                    <a:custGeom>
                      <a:avLst/>
                      <a:gdLst>
                        <a:gd name="connsiteX0" fmla="*/ 134211 w 137630"/>
                        <a:gd name="connsiteY0" fmla="*/ 26 h 155692"/>
                        <a:gd name="connsiteX1" fmla="*/ 129444 w 137630"/>
                        <a:gd name="connsiteY1" fmla="*/ 3363 h 155692"/>
                        <a:gd name="connsiteX2" fmla="*/ 116094 w 137630"/>
                        <a:gd name="connsiteY2" fmla="*/ 76786 h 155692"/>
                        <a:gd name="connsiteX3" fmla="*/ 4053 w 137630"/>
                        <a:gd name="connsiteY3" fmla="*/ 82031 h 155692"/>
                        <a:gd name="connsiteX4" fmla="*/ 0 w 137630"/>
                        <a:gd name="connsiteY4" fmla="*/ 86083 h 155692"/>
                        <a:gd name="connsiteX5" fmla="*/ 0 w 137630"/>
                        <a:gd name="connsiteY5" fmla="*/ 151640 h 155692"/>
                        <a:gd name="connsiteX6" fmla="*/ 4053 w 137630"/>
                        <a:gd name="connsiteY6" fmla="*/ 155692 h 155692"/>
                        <a:gd name="connsiteX7" fmla="*/ 8105 w 137630"/>
                        <a:gd name="connsiteY7" fmla="*/ 151640 h 155692"/>
                        <a:gd name="connsiteX8" fmla="*/ 8105 w 137630"/>
                        <a:gd name="connsiteY8" fmla="*/ 90136 h 155692"/>
                        <a:gd name="connsiteX9" fmla="*/ 119670 w 137630"/>
                        <a:gd name="connsiteY9" fmla="*/ 85130 h 155692"/>
                        <a:gd name="connsiteX10" fmla="*/ 123484 w 137630"/>
                        <a:gd name="connsiteY10" fmla="*/ 81792 h 155692"/>
                        <a:gd name="connsiteX11" fmla="*/ 137549 w 137630"/>
                        <a:gd name="connsiteY11" fmla="*/ 5270 h 155692"/>
                        <a:gd name="connsiteX12" fmla="*/ 134211 w 137630"/>
                        <a:gd name="connsiteY12" fmla="*/ 503 h 1556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37630" h="155692">
                          <a:moveTo>
                            <a:pt x="134211" y="26"/>
                          </a:moveTo>
                          <a:cubicBezTo>
                            <a:pt x="132066" y="-212"/>
                            <a:pt x="129682" y="1218"/>
                            <a:pt x="129444" y="3363"/>
                          </a:cubicBezTo>
                          <a:lnTo>
                            <a:pt x="116094" y="76786"/>
                          </a:lnTo>
                          <a:lnTo>
                            <a:pt x="4053" y="82031"/>
                          </a:lnTo>
                          <a:cubicBezTo>
                            <a:pt x="1907" y="82031"/>
                            <a:pt x="0" y="83938"/>
                            <a:pt x="0" y="86083"/>
                          </a:cubicBezTo>
                          <a:lnTo>
                            <a:pt x="0" y="151640"/>
                          </a:lnTo>
                          <a:cubicBezTo>
                            <a:pt x="0" y="154023"/>
                            <a:pt x="1907" y="155692"/>
                            <a:pt x="4053" y="155692"/>
                          </a:cubicBezTo>
                          <a:cubicBezTo>
                            <a:pt x="6198" y="155692"/>
                            <a:pt x="8105" y="153785"/>
                            <a:pt x="8105" y="151640"/>
                          </a:cubicBezTo>
                          <a:lnTo>
                            <a:pt x="8105" y="90136"/>
                          </a:lnTo>
                          <a:lnTo>
                            <a:pt x="119670" y="85130"/>
                          </a:lnTo>
                          <a:cubicBezTo>
                            <a:pt x="121577" y="85130"/>
                            <a:pt x="123246" y="83699"/>
                            <a:pt x="123484" y="81792"/>
                          </a:cubicBezTo>
                          <a:lnTo>
                            <a:pt x="137549" y="5270"/>
                          </a:lnTo>
                          <a:cubicBezTo>
                            <a:pt x="138026" y="3125"/>
                            <a:pt x="136357" y="741"/>
                            <a:pt x="134211" y="503"/>
                          </a:cubicBez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31" name="Freeform: Shape 130">
                      <a:extLst>
                        <a:ext uri="{FF2B5EF4-FFF2-40B4-BE49-F238E27FC236}">
                          <a16:creationId xmlns:a16="http://schemas.microsoft.com/office/drawing/2014/main" id="{F6AA0406-EC9F-BB2C-7F73-FF2D33244C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25185" y="1653906"/>
                      <a:ext cx="137571" cy="305157"/>
                    </a:xfrm>
                    <a:custGeom>
                      <a:avLst/>
                      <a:gdLst>
                        <a:gd name="connsiteX0" fmla="*/ 22193 w 137571"/>
                        <a:gd name="connsiteY0" fmla="*/ 95377 h 305157"/>
                        <a:gd name="connsiteX1" fmla="*/ 8366 w 137571"/>
                        <a:gd name="connsiteY1" fmla="*/ 3598 h 305157"/>
                        <a:gd name="connsiteX2" fmla="*/ 3598 w 137571"/>
                        <a:gd name="connsiteY2" fmla="*/ 23 h 305157"/>
                        <a:gd name="connsiteX3" fmla="*/ 23 w 137571"/>
                        <a:gd name="connsiteY3" fmla="*/ 4790 h 305157"/>
                        <a:gd name="connsiteX4" fmla="*/ 14088 w 137571"/>
                        <a:gd name="connsiteY4" fmla="*/ 97761 h 305157"/>
                        <a:gd name="connsiteX5" fmla="*/ 15041 w 137571"/>
                        <a:gd name="connsiteY5" fmla="*/ 99907 h 305157"/>
                        <a:gd name="connsiteX6" fmla="*/ 129466 w 137571"/>
                        <a:gd name="connsiteY6" fmla="*/ 237217 h 305157"/>
                        <a:gd name="connsiteX7" fmla="*/ 129466 w 137571"/>
                        <a:gd name="connsiteY7" fmla="*/ 301105 h 305157"/>
                        <a:gd name="connsiteX8" fmla="*/ 133519 w 137571"/>
                        <a:gd name="connsiteY8" fmla="*/ 305157 h 305157"/>
                        <a:gd name="connsiteX9" fmla="*/ 137572 w 137571"/>
                        <a:gd name="connsiteY9" fmla="*/ 301105 h 305157"/>
                        <a:gd name="connsiteX10" fmla="*/ 137572 w 137571"/>
                        <a:gd name="connsiteY10" fmla="*/ 235548 h 305157"/>
                        <a:gd name="connsiteX11" fmla="*/ 136618 w 137571"/>
                        <a:gd name="connsiteY11" fmla="*/ 232926 h 305157"/>
                        <a:gd name="connsiteX12" fmla="*/ 21954 w 137571"/>
                        <a:gd name="connsiteY12" fmla="*/ 95139 h 3051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37571" h="305157">
                          <a:moveTo>
                            <a:pt x="22193" y="95377"/>
                          </a:moveTo>
                          <a:lnTo>
                            <a:pt x="8366" y="3598"/>
                          </a:lnTo>
                          <a:cubicBezTo>
                            <a:pt x="8128" y="1453"/>
                            <a:pt x="5982" y="-216"/>
                            <a:pt x="3598" y="23"/>
                          </a:cubicBezTo>
                          <a:cubicBezTo>
                            <a:pt x="1453" y="261"/>
                            <a:pt x="-216" y="2407"/>
                            <a:pt x="23" y="4790"/>
                          </a:cubicBezTo>
                          <a:lnTo>
                            <a:pt x="14088" y="97761"/>
                          </a:lnTo>
                          <a:cubicBezTo>
                            <a:pt x="14088" y="97761"/>
                            <a:pt x="14564" y="99191"/>
                            <a:pt x="15041" y="99907"/>
                          </a:cubicBezTo>
                          <a:lnTo>
                            <a:pt x="129466" y="237217"/>
                          </a:lnTo>
                          <a:lnTo>
                            <a:pt x="129466" y="301105"/>
                          </a:lnTo>
                          <a:cubicBezTo>
                            <a:pt x="129466" y="303488"/>
                            <a:pt x="131374" y="305157"/>
                            <a:pt x="133519" y="305157"/>
                          </a:cubicBezTo>
                          <a:cubicBezTo>
                            <a:pt x="135664" y="305157"/>
                            <a:pt x="137572" y="303250"/>
                            <a:pt x="137572" y="301105"/>
                          </a:cubicBezTo>
                          <a:lnTo>
                            <a:pt x="137572" y="235548"/>
                          </a:lnTo>
                          <a:cubicBezTo>
                            <a:pt x="137572" y="235548"/>
                            <a:pt x="137333" y="233641"/>
                            <a:pt x="136618" y="232926"/>
                          </a:cubicBezTo>
                          <a:lnTo>
                            <a:pt x="21954" y="95139"/>
                          </a:lnTo>
                          <a:close/>
                        </a:path>
                      </a:pathLst>
                    </a:custGeom>
                    <a:solidFill>
                      <a:srgbClr val="3A3A3A"/>
                    </a:solidFill>
                    <a:ln w="237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</p:grpSp>
          <p:pic>
            <p:nvPicPr>
              <p:cNvPr id="122" name="Graphic 121">
                <a:extLst>
                  <a:ext uri="{FF2B5EF4-FFF2-40B4-BE49-F238E27FC236}">
                    <a16:creationId xmlns:a16="http://schemas.microsoft.com/office/drawing/2014/main" id="{D9433971-76F9-187A-8846-1AF7A504830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7"/>
                </p:custDataLst>
              </p:nvPr>
            </p:nvPicPr>
            <p:blipFill>
              <a:blip r:embed="rId28">
                <a:extLs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 rot="271482">
                <a:off x="6788908" y="3679277"/>
                <a:ext cx="320139" cy="162980"/>
              </a:xfrm>
              <a:prstGeom prst="rect">
                <a:avLst/>
              </a:prstGeom>
            </p:spPr>
          </p:pic>
          <p:pic>
            <p:nvPicPr>
              <p:cNvPr id="123" name="Graphic 122">
                <a:extLst>
                  <a:ext uri="{FF2B5EF4-FFF2-40B4-BE49-F238E27FC236}">
                    <a16:creationId xmlns:a16="http://schemas.microsoft.com/office/drawing/2014/main" id="{66F44E70-EFEB-82D1-7EDC-A831E77DED8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8"/>
                </p:custDataLst>
              </p:nvPr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6625890" y="3521372"/>
                <a:ext cx="326552" cy="158611"/>
              </a:xfrm>
              <a:prstGeom prst="rect">
                <a:avLst/>
              </a:prstGeom>
            </p:spPr>
          </p:pic>
          <p:pic>
            <p:nvPicPr>
              <p:cNvPr id="124" name="Graphic 123">
                <a:extLst>
                  <a:ext uri="{FF2B5EF4-FFF2-40B4-BE49-F238E27FC236}">
                    <a16:creationId xmlns:a16="http://schemas.microsoft.com/office/drawing/2014/main" id="{EBE6EFC8-F4EE-530C-B395-A1E848D7E95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9"/>
                </p:custDataLst>
              </p:nvPr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 rot="2258661" flipH="1">
                <a:off x="6989217" y="3695629"/>
                <a:ext cx="326552" cy="158611"/>
              </a:xfrm>
              <a:prstGeom prst="rect">
                <a:avLst/>
              </a:prstGeom>
            </p:spPr>
          </p:pic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975D50F3-52EC-033E-F2F9-8A78B600D11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3968750" y="1707750"/>
              <a:ext cx="708734" cy="595914"/>
              <a:chOff x="5290339" y="2683143"/>
              <a:chExt cx="762646" cy="641245"/>
            </a:xfrm>
          </p:grpSpPr>
          <p:grpSp>
            <p:nvGrpSpPr>
              <p:cNvPr id="95" name="Graphic 141">
                <a:extLst>
                  <a:ext uri="{FF2B5EF4-FFF2-40B4-BE49-F238E27FC236}">
                    <a16:creationId xmlns:a16="http://schemas.microsoft.com/office/drawing/2014/main" id="{2E8C0197-7410-B7C9-C38B-D99A56048700}"/>
                  </a:ext>
                </a:extLst>
              </p:cNvPr>
              <p:cNvGrpSpPr/>
              <p:nvPr/>
            </p:nvGrpSpPr>
            <p:grpSpPr>
              <a:xfrm>
                <a:off x="5428980" y="2834475"/>
                <a:ext cx="596783" cy="456630"/>
                <a:chOff x="5428980" y="2834475"/>
                <a:chExt cx="596783" cy="456630"/>
              </a:xfrm>
            </p:grpSpPr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D32367EE-9D88-7266-3A5B-A40765A3EEB2}"/>
                    </a:ext>
                  </a:extLst>
                </p:cNvPr>
                <p:cNvSpPr/>
                <p:nvPr/>
              </p:nvSpPr>
              <p:spPr>
                <a:xfrm>
                  <a:off x="5432332" y="2837827"/>
                  <a:ext cx="590879" cy="450527"/>
                </a:xfrm>
                <a:custGeom>
                  <a:avLst/>
                  <a:gdLst>
                    <a:gd name="connsiteX0" fmla="*/ 585933 w 590879"/>
                    <a:gd name="connsiteY0" fmla="*/ 174319 h 450527"/>
                    <a:gd name="connsiteX1" fmla="*/ 579708 w 590879"/>
                    <a:gd name="connsiteY1" fmla="*/ 241126 h 450527"/>
                    <a:gd name="connsiteX2" fmla="*/ 391500 w 590879"/>
                    <a:gd name="connsiteY2" fmla="*/ 420952 h 450527"/>
                    <a:gd name="connsiteX3" fmla="*/ 126908 w 590879"/>
                    <a:gd name="connsiteY3" fmla="*/ 435798 h 450527"/>
                    <a:gd name="connsiteX4" fmla="*/ 72553 w 590879"/>
                    <a:gd name="connsiteY4" fmla="*/ 388387 h 450527"/>
                    <a:gd name="connsiteX5" fmla="*/ 0 w 590879"/>
                    <a:gd name="connsiteY5" fmla="*/ 197067 h 450527"/>
                    <a:gd name="connsiteX6" fmla="*/ 519845 w 590879"/>
                    <a:gd name="connsiteY6" fmla="*/ 0 h 450527"/>
                    <a:gd name="connsiteX7" fmla="*/ 585933 w 590879"/>
                    <a:gd name="connsiteY7" fmla="*/ 174319 h 450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0879" h="450527">
                      <a:moveTo>
                        <a:pt x="585933" y="174319"/>
                      </a:moveTo>
                      <a:cubicBezTo>
                        <a:pt x="594314" y="196349"/>
                        <a:pt x="591920" y="221012"/>
                        <a:pt x="579708" y="241126"/>
                      </a:cubicBezTo>
                      <a:cubicBezTo>
                        <a:pt x="543072" y="300749"/>
                        <a:pt x="478899" y="384796"/>
                        <a:pt x="391500" y="420952"/>
                      </a:cubicBezTo>
                      <a:cubicBezTo>
                        <a:pt x="311045" y="462138"/>
                        <a:pt x="207363" y="453518"/>
                        <a:pt x="126908" y="435798"/>
                      </a:cubicBezTo>
                      <a:cubicBezTo>
                        <a:pt x="102006" y="430291"/>
                        <a:pt x="81413" y="412332"/>
                        <a:pt x="72553" y="388387"/>
                      </a:cubicBezTo>
                      <a:lnTo>
                        <a:pt x="0" y="197067"/>
                      </a:lnTo>
                      <a:lnTo>
                        <a:pt x="519845" y="0"/>
                      </a:lnTo>
                      <a:lnTo>
                        <a:pt x="585933" y="174319"/>
                      </a:lnTo>
                      <a:close/>
                    </a:path>
                  </a:pathLst>
                </a:custGeom>
                <a:solidFill>
                  <a:srgbClr val="96999E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21ABC579-FE3F-5E0E-D4B5-CFAD9CF34A54}"/>
                    </a:ext>
                  </a:extLst>
                </p:cNvPr>
                <p:cNvSpPr/>
                <p:nvPr/>
              </p:nvSpPr>
              <p:spPr>
                <a:xfrm>
                  <a:off x="5428980" y="2834475"/>
                  <a:ext cx="596783" cy="456630"/>
                </a:xfrm>
                <a:custGeom>
                  <a:avLst/>
                  <a:gdLst>
                    <a:gd name="connsiteX0" fmla="*/ 255253 w 596783"/>
                    <a:gd name="connsiteY0" fmla="*/ 456630 h 456630"/>
                    <a:gd name="connsiteX1" fmla="*/ 129782 w 596783"/>
                    <a:gd name="connsiteY1" fmla="*/ 442024 h 456630"/>
                    <a:gd name="connsiteX2" fmla="*/ 73511 w 596783"/>
                    <a:gd name="connsiteY2" fmla="*/ 393176 h 456630"/>
                    <a:gd name="connsiteX3" fmla="*/ 0 w 596783"/>
                    <a:gd name="connsiteY3" fmla="*/ 199222 h 456630"/>
                    <a:gd name="connsiteX4" fmla="*/ 524634 w 596783"/>
                    <a:gd name="connsiteY4" fmla="*/ 0 h 456630"/>
                    <a:gd name="connsiteX5" fmla="*/ 591680 w 596783"/>
                    <a:gd name="connsiteY5" fmla="*/ 176714 h 456630"/>
                    <a:gd name="connsiteX6" fmla="*/ 585215 w 596783"/>
                    <a:gd name="connsiteY6" fmla="*/ 245915 h 456630"/>
                    <a:gd name="connsiteX7" fmla="*/ 395810 w 596783"/>
                    <a:gd name="connsiteY7" fmla="*/ 426939 h 456630"/>
                    <a:gd name="connsiteX8" fmla="*/ 255014 w 596783"/>
                    <a:gd name="connsiteY8" fmla="*/ 456630 h 456630"/>
                    <a:gd name="connsiteX9" fmla="*/ 6465 w 596783"/>
                    <a:gd name="connsiteY9" fmla="*/ 202095 h 456630"/>
                    <a:gd name="connsiteX10" fmla="*/ 78061 w 596783"/>
                    <a:gd name="connsiteY10" fmla="*/ 391021 h 456630"/>
                    <a:gd name="connsiteX11" fmla="*/ 130740 w 596783"/>
                    <a:gd name="connsiteY11" fmla="*/ 436756 h 456630"/>
                    <a:gd name="connsiteX12" fmla="*/ 393655 w 596783"/>
                    <a:gd name="connsiteY12" fmla="*/ 422150 h 456630"/>
                    <a:gd name="connsiteX13" fmla="*/ 580666 w 596783"/>
                    <a:gd name="connsiteY13" fmla="*/ 243281 h 456630"/>
                    <a:gd name="connsiteX14" fmla="*/ 586652 w 596783"/>
                    <a:gd name="connsiteY14" fmla="*/ 178629 h 456630"/>
                    <a:gd name="connsiteX15" fmla="*/ 521521 w 596783"/>
                    <a:gd name="connsiteY15" fmla="*/ 6705 h 456630"/>
                    <a:gd name="connsiteX16" fmla="*/ 6465 w 596783"/>
                    <a:gd name="connsiteY16" fmla="*/ 202095 h 456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96783" h="456630">
                      <a:moveTo>
                        <a:pt x="255253" y="456630"/>
                      </a:moveTo>
                      <a:cubicBezTo>
                        <a:pt x="210237" y="456630"/>
                        <a:pt x="166178" y="449926"/>
                        <a:pt x="129782" y="442024"/>
                      </a:cubicBezTo>
                      <a:cubicBezTo>
                        <a:pt x="103921" y="436277"/>
                        <a:pt x="82850" y="418079"/>
                        <a:pt x="73511" y="393176"/>
                      </a:cubicBezTo>
                      <a:lnTo>
                        <a:pt x="0" y="199222"/>
                      </a:lnTo>
                      <a:lnTo>
                        <a:pt x="524634" y="0"/>
                      </a:lnTo>
                      <a:lnTo>
                        <a:pt x="591680" y="176714"/>
                      </a:lnTo>
                      <a:cubicBezTo>
                        <a:pt x="600300" y="199701"/>
                        <a:pt x="597906" y="224843"/>
                        <a:pt x="585215" y="245915"/>
                      </a:cubicBezTo>
                      <a:cubicBezTo>
                        <a:pt x="546664" y="308651"/>
                        <a:pt x="482731" y="390782"/>
                        <a:pt x="395810" y="426939"/>
                      </a:cubicBezTo>
                      <a:cubicBezTo>
                        <a:pt x="352949" y="448968"/>
                        <a:pt x="303383" y="456630"/>
                        <a:pt x="255014" y="456630"/>
                      </a:cubicBezTo>
                      <a:close/>
                      <a:moveTo>
                        <a:pt x="6465" y="202095"/>
                      </a:moveTo>
                      <a:lnTo>
                        <a:pt x="78061" y="391021"/>
                      </a:lnTo>
                      <a:cubicBezTo>
                        <a:pt x="86920" y="414248"/>
                        <a:pt x="106555" y="431488"/>
                        <a:pt x="130740" y="436756"/>
                      </a:cubicBezTo>
                      <a:cubicBezTo>
                        <a:pt x="205687" y="453278"/>
                        <a:pt x="312003" y="464053"/>
                        <a:pt x="393655" y="422150"/>
                      </a:cubicBezTo>
                      <a:cubicBezTo>
                        <a:pt x="479378" y="386472"/>
                        <a:pt x="542593" y="305298"/>
                        <a:pt x="580666" y="243281"/>
                      </a:cubicBezTo>
                      <a:cubicBezTo>
                        <a:pt x="592638" y="223646"/>
                        <a:pt x="594793" y="200180"/>
                        <a:pt x="586652" y="178629"/>
                      </a:cubicBezTo>
                      <a:lnTo>
                        <a:pt x="521521" y="6705"/>
                      </a:lnTo>
                      <a:lnTo>
                        <a:pt x="6465" y="202095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D0D2743C-CA32-95BD-BDCC-72244452E69F}"/>
                  </a:ext>
                </a:extLst>
              </p:cNvPr>
              <p:cNvSpPr/>
              <p:nvPr/>
            </p:nvSpPr>
            <p:spPr>
              <a:xfrm>
                <a:off x="5295367" y="3027950"/>
                <a:ext cx="453996" cy="110386"/>
              </a:xfrm>
              <a:custGeom>
                <a:avLst/>
                <a:gdLst>
                  <a:gd name="connsiteX0" fmla="*/ 448010 w 453996"/>
                  <a:gd name="connsiteY0" fmla="*/ 91949 h 110386"/>
                  <a:gd name="connsiteX1" fmla="*/ 453997 w 453996"/>
                  <a:gd name="connsiteY1" fmla="*/ 110386 h 110386"/>
                  <a:gd name="connsiteX2" fmla="*/ 6226 w 453996"/>
                  <a:gd name="connsiteY2" fmla="*/ 18677 h 110386"/>
                  <a:gd name="connsiteX3" fmla="*/ 0 w 453996"/>
                  <a:gd name="connsiteY3" fmla="*/ 0 h 110386"/>
                  <a:gd name="connsiteX4" fmla="*/ 448010 w 453996"/>
                  <a:gd name="connsiteY4" fmla="*/ 91949 h 11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996" h="110386">
                    <a:moveTo>
                      <a:pt x="448010" y="91949"/>
                    </a:moveTo>
                    <a:lnTo>
                      <a:pt x="453997" y="110386"/>
                    </a:lnTo>
                    <a:lnTo>
                      <a:pt x="6226" y="18677"/>
                    </a:lnTo>
                    <a:lnTo>
                      <a:pt x="0" y="0"/>
                    </a:lnTo>
                    <a:lnTo>
                      <a:pt x="448010" y="91949"/>
                    </a:ln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97" name="Graphic 141">
                <a:extLst>
                  <a:ext uri="{FF2B5EF4-FFF2-40B4-BE49-F238E27FC236}">
                    <a16:creationId xmlns:a16="http://schemas.microsoft.com/office/drawing/2014/main" id="{D3DDE3A9-0559-F749-CF24-1316FBE8ED16}"/>
                  </a:ext>
                </a:extLst>
              </p:cNvPr>
              <p:cNvGrpSpPr/>
              <p:nvPr/>
            </p:nvGrpSpPr>
            <p:grpSpPr>
              <a:xfrm>
                <a:off x="5290339" y="2683143"/>
                <a:ext cx="761449" cy="439629"/>
                <a:chOff x="5290339" y="2683143"/>
                <a:chExt cx="761449" cy="439629"/>
              </a:xfrm>
            </p:grpSpPr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4DFF4728-E673-0601-6D98-925C95376813}"/>
                    </a:ext>
                  </a:extLst>
                </p:cNvPr>
                <p:cNvSpPr/>
                <p:nvPr/>
              </p:nvSpPr>
              <p:spPr>
                <a:xfrm>
                  <a:off x="5295367" y="2686016"/>
                  <a:ext cx="751393" cy="433882"/>
                </a:xfrm>
                <a:custGeom>
                  <a:avLst/>
                  <a:gdLst>
                    <a:gd name="connsiteX0" fmla="*/ 751393 w 751393"/>
                    <a:gd name="connsiteY0" fmla="*/ 91709 h 433882"/>
                    <a:gd name="connsiteX1" fmla="*/ 448010 w 751393"/>
                    <a:gd name="connsiteY1" fmla="*/ 433883 h 433882"/>
                    <a:gd name="connsiteX2" fmla="*/ 0 w 751393"/>
                    <a:gd name="connsiteY2" fmla="*/ 341934 h 433882"/>
                    <a:gd name="connsiteX3" fmla="*/ 303383 w 751393"/>
                    <a:gd name="connsiteY3" fmla="*/ 0 h 433882"/>
                    <a:gd name="connsiteX4" fmla="*/ 751393 w 751393"/>
                    <a:gd name="connsiteY4" fmla="*/ 91709 h 433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393" h="433882">
                      <a:moveTo>
                        <a:pt x="751393" y="91709"/>
                      </a:moveTo>
                      <a:lnTo>
                        <a:pt x="448010" y="433883"/>
                      </a:lnTo>
                      <a:lnTo>
                        <a:pt x="0" y="341934"/>
                      </a:lnTo>
                      <a:lnTo>
                        <a:pt x="303383" y="0"/>
                      </a:lnTo>
                      <a:lnTo>
                        <a:pt x="751393" y="91709"/>
                      </a:lnTo>
                      <a:close/>
                    </a:path>
                  </a:pathLst>
                </a:custGeom>
                <a:solidFill>
                  <a:srgbClr val="96999E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8D6A1563-49F6-2048-60A7-457CF8FB2B58}"/>
                    </a:ext>
                  </a:extLst>
                </p:cNvPr>
                <p:cNvSpPr/>
                <p:nvPr/>
              </p:nvSpPr>
              <p:spPr>
                <a:xfrm>
                  <a:off x="5290339" y="2683143"/>
                  <a:ext cx="761449" cy="439629"/>
                </a:xfrm>
                <a:custGeom>
                  <a:avLst/>
                  <a:gdLst>
                    <a:gd name="connsiteX0" fmla="*/ 453997 w 761449"/>
                    <a:gd name="connsiteY0" fmla="*/ 439630 h 439629"/>
                    <a:gd name="connsiteX1" fmla="*/ 452560 w 761449"/>
                    <a:gd name="connsiteY1" fmla="*/ 439630 h 439629"/>
                    <a:gd name="connsiteX2" fmla="*/ 0 w 761449"/>
                    <a:gd name="connsiteY2" fmla="*/ 346484 h 439629"/>
                    <a:gd name="connsiteX3" fmla="*/ 3113 w 761449"/>
                    <a:gd name="connsiteY3" fmla="*/ 343131 h 439629"/>
                    <a:gd name="connsiteX4" fmla="*/ 307453 w 761449"/>
                    <a:gd name="connsiteY4" fmla="*/ 0 h 439629"/>
                    <a:gd name="connsiteX5" fmla="*/ 308890 w 761449"/>
                    <a:gd name="connsiteY5" fmla="*/ 0 h 439629"/>
                    <a:gd name="connsiteX6" fmla="*/ 761450 w 761449"/>
                    <a:gd name="connsiteY6" fmla="*/ 92906 h 439629"/>
                    <a:gd name="connsiteX7" fmla="*/ 758337 w 761449"/>
                    <a:gd name="connsiteY7" fmla="*/ 96259 h 439629"/>
                    <a:gd name="connsiteX8" fmla="*/ 453997 w 761449"/>
                    <a:gd name="connsiteY8" fmla="*/ 439390 h 439629"/>
                    <a:gd name="connsiteX9" fmla="*/ 10057 w 761449"/>
                    <a:gd name="connsiteY9" fmla="*/ 343131 h 439629"/>
                    <a:gd name="connsiteX10" fmla="*/ 452081 w 761449"/>
                    <a:gd name="connsiteY10" fmla="*/ 433643 h 439629"/>
                    <a:gd name="connsiteX11" fmla="*/ 751393 w 761449"/>
                    <a:gd name="connsiteY11" fmla="*/ 96259 h 439629"/>
                    <a:gd name="connsiteX12" fmla="*/ 309369 w 761449"/>
                    <a:gd name="connsiteY12" fmla="*/ 5747 h 439629"/>
                    <a:gd name="connsiteX13" fmla="*/ 10057 w 761449"/>
                    <a:gd name="connsiteY13" fmla="*/ 343131 h 439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61449" h="439629">
                      <a:moveTo>
                        <a:pt x="453997" y="439630"/>
                      </a:moveTo>
                      <a:lnTo>
                        <a:pt x="452560" y="439630"/>
                      </a:lnTo>
                      <a:lnTo>
                        <a:pt x="0" y="346484"/>
                      </a:lnTo>
                      <a:lnTo>
                        <a:pt x="3113" y="343131"/>
                      </a:lnTo>
                      <a:lnTo>
                        <a:pt x="307453" y="0"/>
                      </a:lnTo>
                      <a:lnTo>
                        <a:pt x="308890" y="0"/>
                      </a:lnTo>
                      <a:lnTo>
                        <a:pt x="761450" y="92906"/>
                      </a:lnTo>
                      <a:lnTo>
                        <a:pt x="758337" y="96259"/>
                      </a:lnTo>
                      <a:lnTo>
                        <a:pt x="453997" y="439390"/>
                      </a:lnTo>
                      <a:close/>
                      <a:moveTo>
                        <a:pt x="10057" y="343131"/>
                      </a:moveTo>
                      <a:lnTo>
                        <a:pt x="452081" y="433643"/>
                      </a:lnTo>
                      <a:lnTo>
                        <a:pt x="751393" y="96259"/>
                      </a:lnTo>
                      <a:lnTo>
                        <a:pt x="309369" y="5747"/>
                      </a:lnTo>
                      <a:lnTo>
                        <a:pt x="10057" y="343131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189FE47-74C4-2615-4B22-BD58D10350D2}"/>
                  </a:ext>
                </a:extLst>
              </p:cNvPr>
              <p:cNvSpPr/>
              <p:nvPr/>
            </p:nvSpPr>
            <p:spPr>
              <a:xfrm>
                <a:off x="5743377" y="2777725"/>
                <a:ext cx="309608" cy="360611"/>
              </a:xfrm>
              <a:custGeom>
                <a:avLst/>
                <a:gdLst>
                  <a:gd name="connsiteX0" fmla="*/ 303383 w 309608"/>
                  <a:gd name="connsiteY0" fmla="*/ 0 h 360611"/>
                  <a:gd name="connsiteX1" fmla="*/ 309608 w 309608"/>
                  <a:gd name="connsiteY1" fmla="*/ 18677 h 360611"/>
                  <a:gd name="connsiteX2" fmla="*/ 5986 w 309608"/>
                  <a:gd name="connsiteY2" fmla="*/ 360611 h 360611"/>
                  <a:gd name="connsiteX3" fmla="*/ 0 w 309608"/>
                  <a:gd name="connsiteY3" fmla="*/ 342174 h 360611"/>
                  <a:gd name="connsiteX4" fmla="*/ 303383 w 309608"/>
                  <a:gd name="connsiteY4" fmla="*/ 0 h 360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08" h="360611">
                    <a:moveTo>
                      <a:pt x="303383" y="0"/>
                    </a:moveTo>
                    <a:lnTo>
                      <a:pt x="309608" y="18677"/>
                    </a:lnTo>
                    <a:lnTo>
                      <a:pt x="5986" y="360611"/>
                    </a:lnTo>
                    <a:lnTo>
                      <a:pt x="0" y="342174"/>
                    </a:lnTo>
                    <a:lnTo>
                      <a:pt x="303383" y="0"/>
                    </a:ln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C33A2842-A9C1-C377-789F-5185B769863F}"/>
                  </a:ext>
                </a:extLst>
              </p:cNvPr>
              <p:cNvSpPr/>
              <p:nvPr/>
            </p:nvSpPr>
            <p:spPr>
              <a:xfrm>
                <a:off x="5635008" y="2875659"/>
                <a:ext cx="70195" cy="45017"/>
              </a:xfrm>
              <a:custGeom>
                <a:avLst/>
                <a:gdLst>
                  <a:gd name="connsiteX0" fmla="*/ 28632 w 70195"/>
                  <a:gd name="connsiteY0" fmla="*/ 3113 h 45017"/>
                  <a:gd name="connsiteX1" fmla="*/ 69578 w 70195"/>
                  <a:gd name="connsiteY1" fmla="*/ 11015 h 45017"/>
                  <a:gd name="connsiteX2" fmla="*/ 41563 w 70195"/>
                  <a:gd name="connsiteY2" fmla="*/ 41904 h 45017"/>
                  <a:gd name="connsiteX3" fmla="*/ 617 w 70195"/>
                  <a:gd name="connsiteY3" fmla="*/ 34002 h 45017"/>
                  <a:gd name="connsiteX4" fmla="*/ 28632 w 70195"/>
                  <a:gd name="connsiteY4" fmla="*/ 3113 h 4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195" h="45017">
                    <a:moveTo>
                      <a:pt x="28632" y="3113"/>
                    </a:moveTo>
                    <a:cubicBezTo>
                      <a:pt x="47788" y="-3112"/>
                      <a:pt x="65987" y="240"/>
                      <a:pt x="69578" y="11015"/>
                    </a:cubicBezTo>
                    <a:cubicBezTo>
                      <a:pt x="73170" y="21790"/>
                      <a:pt x="60719" y="35679"/>
                      <a:pt x="41563" y="41904"/>
                    </a:cubicBezTo>
                    <a:cubicBezTo>
                      <a:pt x="22407" y="48130"/>
                      <a:pt x="4209" y="44778"/>
                      <a:pt x="617" y="34002"/>
                    </a:cubicBezTo>
                    <a:cubicBezTo>
                      <a:pt x="-2975" y="23227"/>
                      <a:pt x="9477" y="9339"/>
                      <a:pt x="28632" y="3113"/>
                    </a:cubicBezTo>
                    <a:close/>
                  </a:path>
                </a:pathLst>
              </a:custGeom>
              <a:solidFill>
                <a:srgbClr val="3A3A3A"/>
              </a:solidFill>
              <a:ln w="23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1812E6F6-5301-8CFB-8098-49E776827B5C}"/>
                  </a:ext>
                </a:extLst>
              </p:cNvPr>
              <p:cNvGrpSpPr/>
              <p:nvPr>
                <p:custDataLst>
                  <p:tags r:id="rId11"/>
                </p:custDataLst>
              </p:nvPr>
            </p:nvGrpSpPr>
            <p:grpSpPr>
              <a:xfrm>
                <a:off x="5488598" y="2892661"/>
                <a:ext cx="191085" cy="431727"/>
                <a:chOff x="5488598" y="2892661"/>
                <a:chExt cx="191085" cy="431727"/>
              </a:xfrm>
            </p:grpSpPr>
            <p:grpSp>
              <p:nvGrpSpPr>
                <p:cNvPr id="101" name="Graphic 141">
                  <a:extLst>
                    <a:ext uri="{FF2B5EF4-FFF2-40B4-BE49-F238E27FC236}">
                      <a16:creationId xmlns:a16="http://schemas.microsoft.com/office/drawing/2014/main" id="{7308C6C9-7DE3-266F-69DF-FEA51CDE2BCB}"/>
                    </a:ext>
                  </a:extLst>
                </p:cNvPr>
                <p:cNvGrpSpPr/>
                <p:nvPr/>
              </p:nvGrpSpPr>
              <p:grpSpPr>
                <a:xfrm>
                  <a:off x="5496744" y="2892661"/>
                  <a:ext cx="182939" cy="392457"/>
                  <a:chOff x="5496744" y="2892661"/>
                  <a:chExt cx="182939" cy="392457"/>
                </a:xfrm>
              </p:grpSpPr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7F421B9A-ADEF-C0D9-1DD8-7D2322358BDB}"/>
                      </a:ext>
                    </a:extLst>
                  </p:cNvPr>
                  <p:cNvSpPr/>
                  <p:nvPr/>
                </p:nvSpPr>
                <p:spPr>
                  <a:xfrm>
                    <a:off x="5499378" y="2896253"/>
                    <a:ext cx="176474" cy="384795"/>
                  </a:xfrm>
                  <a:custGeom>
                    <a:avLst/>
                    <a:gdLst>
                      <a:gd name="connsiteX0" fmla="*/ 176474 w 176474"/>
                      <a:gd name="connsiteY0" fmla="*/ 10536 h 384795"/>
                      <a:gd name="connsiteX1" fmla="*/ 20353 w 176474"/>
                      <a:gd name="connsiteY1" fmla="*/ 194673 h 384795"/>
                      <a:gd name="connsiteX2" fmla="*/ 17001 w 176474"/>
                      <a:gd name="connsiteY2" fmla="*/ 379049 h 384795"/>
                      <a:gd name="connsiteX3" fmla="*/ 2155 w 176474"/>
                      <a:gd name="connsiteY3" fmla="*/ 384796 h 384795"/>
                      <a:gd name="connsiteX4" fmla="*/ 0 w 176474"/>
                      <a:gd name="connsiteY4" fmla="*/ 188447 h 384795"/>
                      <a:gd name="connsiteX5" fmla="*/ 164502 w 176474"/>
                      <a:gd name="connsiteY5" fmla="*/ 0 h 384795"/>
                      <a:gd name="connsiteX6" fmla="*/ 176474 w 176474"/>
                      <a:gd name="connsiteY6" fmla="*/ 10536 h 384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76474" h="384795">
                        <a:moveTo>
                          <a:pt x="176474" y="10536"/>
                        </a:moveTo>
                        <a:lnTo>
                          <a:pt x="20353" y="194673"/>
                        </a:lnTo>
                        <a:lnTo>
                          <a:pt x="17001" y="379049"/>
                        </a:lnTo>
                        <a:lnTo>
                          <a:pt x="2155" y="384796"/>
                        </a:lnTo>
                        <a:lnTo>
                          <a:pt x="0" y="188447"/>
                        </a:lnTo>
                        <a:lnTo>
                          <a:pt x="164502" y="0"/>
                        </a:lnTo>
                        <a:lnTo>
                          <a:pt x="176474" y="10536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FDEB6F94-07C0-7758-CC4F-0DE22A93B2F7}"/>
                      </a:ext>
                    </a:extLst>
                  </p:cNvPr>
                  <p:cNvSpPr/>
                  <p:nvPr/>
                </p:nvSpPr>
                <p:spPr>
                  <a:xfrm>
                    <a:off x="5496744" y="2892661"/>
                    <a:ext cx="182939" cy="392457"/>
                  </a:xfrm>
                  <a:custGeom>
                    <a:avLst/>
                    <a:gdLst>
                      <a:gd name="connsiteX0" fmla="*/ 2155 w 182939"/>
                      <a:gd name="connsiteY0" fmla="*/ 392218 h 392457"/>
                      <a:gd name="connsiteX1" fmla="*/ 0 w 182939"/>
                      <a:gd name="connsiteY1" fmla="*/ 191081 h 392457"/>
                      <a:gd name="connsiteX2" fmla="*/ 718 w 182939"/>
                      <a:gd name="connsiteY2" fmla="*/ 190362 h 392457"/>
                      <a:gd name="connsiteX3" fmla="*/ 166896 w 182939"/>
                      <a:gd name="connsiteY3" fmla="*/ 0 h 392457"/>
                      <a:gd name="connsiteX4" fmla="*/ 182940 w 182939"/>
                      <a:gd name="connsiteY4" fmla="*/ 13888 h 392457"/>
                      <a:gd name="connsiteX5" fmla="*/ 181263 w 182939"/>
                      <a:gd name="connsiteY5" fmla="*/ 15804 h 392457"/>
                      <a:gd name="connsiteX6" fmla="*/ 25621 w 182939"/>
                      <a:gd name="connsiteY6" fmla="*/ 199462 h 392457"/>
                      <a:gd name="connsiteX7" fmla="*/ 22269 w 182939"/>
                      <a:gd name="connsiteY7" fmla="*/ 384556 h 392457"/>
                      <a:gd name="connsiteX8" fmla="*/ 2155 w 182939"/>
                      <a:gd name="connsiteY8" fmla="*/ 392458 h 392457"/>
                      <a:gd name="connsiteX9" fmla="*/ 5268 w 182939"/>
                      <a:gd name="connsiteY9" fmla="*/ 192996 h 392457"/>
                      <a:gd name="connsiteX10" fmla="*/ 7423 w 182939"/>
                      <a:gd name="connsiteY10" fmla="*/ 384556 h 392457"/>
                      <a:gd name="connsiteX11" fmla="*/ 17001 w 182939"/>
                      <a:gd name="connsiteY11" fmla="*/ 380725 h 392457"/>
                      <a:gd name="connsiteX12" fmla="*/ 20353 w 182939"/>
                      <a:gd name="connsiteY12" fmla="*/ 197306 h 392457"/>
                      <a:gd name="connsiteX13" fmla="*/ 175517 w 182939"/>
                      <a:gd name="connsiteY13" fmla="*/ 14128 h 392457"/>
                      <a:gd name="connsiteX14" fmla="*/ 167375 w 182939"/>
                      <a:gd name="connsiteY14" fmla="*/ 7183 h 392457"/>
                      <a:gd name="connsiteX15" fmla="*/ 5268 w 182939"/>
                      <a:gd name="connsiteY15" fmla="*/ 192996 h 392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82939" h="392457">
                        <a:moveTo>
                          <a:pt x="2155" y="392218"/>
                        </a:moveTo>
                        <a:lnTo>
                          <a:pt x="0" y="191081"/>
                        </a:lnTo>
                        <a:lnTo>
                          <a:pt x="718" y="190362"/>
                        </a:lnTo>
                        <a:lnTo>
                          <a:pt x="166896" y="0"/>
                        </a:lnTo>
                        <a:lnTo>
                          <a:pt x="182940" y="13888"/>
                        </a:lnTo>
                        <a:lnTo>
                          <a:pt x="181263" y="15804"/>
                        </a:lnTo>
                        <a:lnTo>
                          <a:pt x="25621" y="199462"/>
                        </a:lnTo>
                        <a:lnTo>
                          <a:pt x="22269" y="384556"/>
                        </a:lnTo>
                        <a:lnTo>
                          <a:pt x="2155" y="392458"/>
                        </a:lnTo>
                        <a:close/>
                        <a:moveTo>
                          <a:pt x="5268" y="192996"/>
                        </a:moveTo>
                        <a:lnTo>
                          <a:pt x="7423" y="384556"/>
                        </a:lnTo>
                        <a:lnTo>
                          <a:pt x="17001" y="380725"/>
                        </a:lnTo>
                        <a:lnTo>
                          <a:pt x="20353" y="197306"/>
                        </a:lnTo>
                        <a:lnTo>
                          <a:pt x="175517" y="14128"/>
                        </a:lnTo>
                        <a:lnTo>
                          <a:pt x="167375" y="7183"/>
                        </a:lnTo>
                        <a:lnTo>
                          <a:pt x="5268" y="192996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02" name="Graphic 141">
                  <a:extLst>
                    <a:ext uri="{FF2B5EF4-FFF2-40B4-BE49-F238E27FC236}">
                      <a16:creationId xmlns:a16="http://schemas.microsoft.com/office/drawing/2014/main" id="{929CEC94-ADC5-927B-16B7-012F3E98E445}"/>
                    </a:ext>
                  </a:extLst>
                </p:cNvPr>
                <p:cNvGrpSpPr/>
                <p:nvPr/>
              </p:nvGrpSpPr>
              <p:grpSpPr>
                <a:xfrm>
                  <a:off x="5488598" y="3261413"/>
                  <a:ext cx="40950" cy="62975"/>
                  <a:chOff x="5488598" y="3261413"/>
                  <a:chExt cx="40950" cy="62975"/>
                </a:xfrm>
              </p:grpSpPr>
              <p:sp>
                <p:nvSpPr>
                  <p:cNvPr id="103" name="Freeform: Shape 102">
                    <a:extLst>
                      <a:ext uri="{FF2B5EF4-FFF2-40B4-BE49-F238E27FC236}">
                        <a16:creationId xmlns:a16="http://schemas.microsoft.com/office/drawing/2014/main" id="{FABA1003-488A-2723-1869-1B6AAEED17D5}"/>
                      </a:ext>
                    </a:extLst>
                  </p:cNvPr>
                  <p:cNvSpPr/>
                  <p:nvPr/>
                </p:nvSpPr>
                <p:spPr>
                  <a:xfrm>
                    <a:off x="5490997" y="3264287"/>
                    <a:ext cx="35917" cy="57715"/>
                  </a:xfrm>
                  <a:custGeom>
                    <a:avLst/>
                    <a:gdLst>
                      <a:gd name="connsiteX0" fmla="*/ 8141 w 35917"/>
                      <a:gd name="connsiteY0" fmla="*/ 6944 h 57715"/>
                      <a:gd name="connsiteX1" fmla="*/ 18917 w 35917"/>
                      <a:gd name="connsiteY1" fmla="*/ 0 h 57715"/>
                      <a:gd name="connsiteX2" fmla="*/ 29452 w 35917"/>
                      <a:gd name="connsiteY2" fmla="*/ 7423 h 57715"/>
                      <a:gd name="connsiteX3" fmla="*/ 35917 w 35917"/>
                      <a:gd name="connsiteY3" fmla="*/ 46214 h 57715"/>
                      <a:gd name="connsiteX4" fmla="*/ 17719 w 35917"/>
                      <a:gd name="connsiteY4" fmla="*/ 57707 h 57715"/>
                      <a:gd name="connsiteX5" fmla="*/ 0 w 35917"/>
                      <a:gd name="connsiteY5" fmla="*/ 45495 h 57715"/>
                      <a:gd name="connsiteX6" fmla="*/ 479 w 35917"/>
                      <a:gd name="connsiteY6" fmla="*/ 42861 h 57715"/>
                      <a:gd name="connsiteX7" fmla="*/ 7902 w 35917"/>
                      <a:gd name="connsiteY7" fmla="*/ 7183 h 57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5917" h="57715">
                        <a:moveTo>
                          <a:pt x="8141" y="6944"/>
                        </a:moveTo>
                        <a:cubicBezTo>
                          <a:pt x="8141" y="3113"/>
                          <a:pt x="13170" y="0"/>
                          <a:pt x="18917" y="0"/>
                        </a:cubicBezTo>
                        <a:cubicBezTo>
                          <a:pt x="24903" y="0"/>
                          <a:pt x="29452" y="3352"/>
                          <a:pt x="29452" y="7423"/>
                        </a:cubicBezTo>
                        <a:lnTo>
                          <a:pt x="35917" y="46214"/>
                        </a:lnTo>
                        <a:cubicBezTo>
                          <a:pt x="35917" y="52679"/>
                          <a:pt x="27776" y="57947"/>
                          <a:pt x="17719" y="57707"/>
                        </a:cubicBezTo>
                        <a:cubicBezTo>
                          <a:pt x="7902" y="57707"/>
                          <a:pt x="0" y="51961"/>
                          <a:pt x="0" y="45495"/>
                        </a:cubicBezTo>
                        <a:cubicBezTo>
                          <a:pt x="0" y="44538"/>
                          <a:pt x="0" y="43819"/>
                          <a:pt x="479" y="42861"/>
                        </a:cubicBezTo>
                        <a:lnTo>
                          <a:pt x="7902" y="7183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4" name="Freeform: Shape 103">
                    <a:extLst>
                      <a:ext uri="{FF2B5EF4-FFF2-40B4-BE49-F238E27FC236}">
                        <a16:creationId xmlns:a16="http://schemas.microsoft.com/office/drawing/2014/main" id="{22D213BA-AD8B-03E0-7C4C-B3AFC223FE00}"/>
                      </a:ext>
                    </a:extLst>
                  </p:cNvPr>
                  <p:cNvSpPr/>
                  <p:nvPr/>
                </p:nvSpPr>
                <p:spPr>
                  <a:xfrm>
                    <a:off x="5488598" y="3261413"/>
                    <a:ext cx="40950" cy="62975"/>
                  </a:xfrm>
                  <a:custGeom>
                    <a:avLst/>
                    <a:gdLst>
                      <a:gd name="connsiteX0" fmla="*/ 20837 w 40950"/>
                      <a:gd name="connsiteY0" fmla="*/ 62975 h 62975"/>
                      <a:gd name="connsiteX1" fmla="*/ 20119 w 40950"/>
                      <a:gd name="connsiteY1" fmla="*/ 62975 h 62975"/>
                      <a:gd name="connsiteX2" fmla="*/ 5 w 40950"/>
                      <a:gd name="connsiteY2" fmla="*/ 48129 h 62975"/>
                      <a:gd name="connsiteX3" fmla="*/ 723 w 40950"/>
                      <a:gd name="connsiteY3" fmla="*/ 44538 h 62975"/>
                      <a:gd name="connsiteX4" fmla="*/ 7907 w 40950"/>
                      <a:gd name="connsiteY4" fmla="*/ 9339 h 62975"/>
                      <a:gd name="connsiteX5" fmla="*/ 21076 w 40950"/>
                      <a:gd name="connsiteY5" fmla="*/ 0 h 62975"/>
                      <a:gd name="connsiteX6" fmla="*/ 21555 w 40950"/>
                      <a:gd name="connsiteY6" fmla="*/ 0 h 62975"/>
                      <a:gd name="connsiteX7" fmla="*/ 32091 w 40950"/>
                      <a:gd name="connsiteY7" fmla="*/ 4071 h 62975"/>
                      <a:gd name="connsiteX8" fmla="*/ 34486 w 40950"/>
                      <a:gd name="connsiteY8" fmla="*/ 10057 h 62975"/>
                      <a:gd name="connsiteX9" fmla="*/ 40951 w 40950"/>
                      <a:gd name="connsiteY9" fmla="*/ 48129 h 62975"/>
                      <a:gd name="connsiteX10" fmla="*/ 20837 w 40950"/>
                      <a:gd name="connsiteY10" fmla="*/ 62736 h 62975"/>
                      <a:gd name="connsiteX11" fmla="*/ 20837 w 40950"/>
                      <a:gd name="connsiteY11" fmla="*/ 5507 h 62975"/>
                      <a:gd name="connsiteX12" fmla="*/ 12935 w 40950"/>
                      <a:gd name="connsiteY12" fmla="*/ 9817 h 62975"/>
                      <a:gd name="connsiteX13" fmla="*/ 12935 w 40950"/>
                      <a:gd name="connsiteY13" fmla="*/ 10296 h 62975"/>
                      <a:gd name="connsiteX14" fmla="*/ 5512 w 40950"/>
                      <a:gd name="connsiteY14" fmla="*/ 45974 h 62975"/>
                      <a:gd name="connsiteX15" fmla="*/ 5033 w 40950"/>
                      <a:gd name="connsiteY15" fmla="*/ 48129 h 62975"/>
                      <a:gd name="connsiteX16" fmla="*/ 20119 w 40950"/>
                      <a:gd name="connsiteY16" fmla="*/ 57707 h 62975"/>
                      <a:gd name="connsiteX17" fmla="*/ 35443 w 40950"/>
                      <a:gd name="connsiteY17" fmla="*/ 48848 h 62975"/>
                      <a:gd name="connsiteX18" fmla="*/ 28978 w 40950"/>
                      <a:gd name="connsiteY18" fmla="*/ 10775 h 62975"/>
                      <a:gd name="connsiteX19" fmla="*/ 28020 w 40950"/>
                      <a:gd name="connsiteY19" fmla="*/ 8141 h 62975"/>
                      <a:gd name="connsiteX20" fmla="*/ 21076 w 40950"/>
                      <a:gd name="connsiteY20" fmla="*/ 5507 h 62975"/>
                      <a:gd name="connsiteX21" fmla="*/ 20837 w 40950"/>
                      <a:gd name="connsiteY21" fmla="*/ 5507 h 629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40950" h="62975">
                        <a:moveTo>
                          <a:pt x="20837" y="62975"/>
                        </a:moveTo>
                        <a:lnTo>
                          <a:pt x="20119" y="62975"/>
                        </a:lnTo>
                        <a:cubicBezTo>
                          <a:pt x="8625" y="62975"/>
                          <a:pt x="-235" y="56271"/>
                          <a:pt x="5" y="48129"/>
                        </a:cubicBezTo>
                        <a:cubicBezTo>
                          <a:pt x="5" y="46932"/>
                          <a:pt x="244" y="45735"/>
                          <a:pt x="723" y="44538"/>
                        </a:cubicBezTo>
                        <a:lnTo>
                          <a:pt x="7907" y="9339"/>
                        </a:lnTo>
                        <a:cubicBezTo>
                          <a:pt x="8146" y="4071"/>
                          <a:pt x="13893" y="0"/>
                          <a:pt x="21076" y="0"/>
                        </a:cubicBezTo>
                        <a:lnTo>
                          <a:pt x="21555" y="0"/>
                        </a:lnTo>
                        <a:cubicBezTo>
                          <a:pt x="25865" y="0"/>
                          <a:pt x="29697" y="1676"/>
                          <a:pt x="32091" y="4071"/>
                        </a:cubicBezTo>
                        <a:cubicBezTo>
                          <a:pt x="33767" y="5747"/>
                          <a:pt x="34486" y="7902"/>
                          <a:pt x="34486" y="10057"/>
                        </a:cubicBezTo>
                        <a:lnTo>
                          <a:pt x="40951" y="48129"/>
                        </a:lnTo>
                        <a:cubicBezTo>
                          <a:pt x="40951" y="56510"/>
                          <a:pt x="32091" y="62736"/>
                          <a:pt x="20837" y="62736"/>
                        </a:cubicBezTo>
                        <a:close/>
                        <a:moveTo>
                          <a:pt x="20837" y="5507"/>
                        </a:moveTo>
                        <a:cubicBezTo>
                          <a:pt x="16287" y="5507"/>
                          <a:pt x="12935" y="7662"/>
                          <a:pt x="12935" y="9817"/>
                        </a:cubicBezTo>
                        <a:lnTo>
                          <a:pt x="12935" y="10296"/>
                        </a:lnTo>
                        <a:lnTo>
                          <a:pt x="5512" y="45974"/>
                        </a:lnTo>
                        <a:cubicBezTo>
                          <a:pt x="5512" y="45974"/>
                          <a:pt x="5033" y="47650"/>
                          <a:pt x="5033" y="48129"/>
                        </a:cubicBezTo>
                        <a:cubicBezTo>
                          <a:pt x="5033" y="53158"/>
                          <a:pt x="11738" y="57468"/>
                          <a:pt x="20119" y="57707"/>
                        </a:cubicBezTo>
                        <a:cubicBezTo>
                          <a:pt x="28260" y="58186"/>
                          <a:pt x="35443" y="53876"/>
                          <a:pt x="35443" y="48848"/>
                        </a:cubicBezTo>
                        <a:lnTo>
                          <a:pt x="28978" y="10775"/>
                        </a:lnTo>
                        <a:cubicBezTo>
                          <a:pt x="28978" y="9578"/>
                          <a:pt x="28739" y="8860"/>
                          <a:pt x="28020" y="8141"/>
                        </a:cubicBezTo>
                        <a:cubicBezTo>
                          <a:pt x="26584" y="6705"/>
                          <a:pt x="23950" y="5747"/>
                          <a:pt x="21076" y="5507"/>
                        </a:cubicBezTo>
                        <a:lnTo>
                          <a:pt x="20837" y="5507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 w="2381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</p:grpSp>
      </p:grpSp>
      <p:sp>
        <p:nvSpPr>
          <p:cNvPr id="154" name="Footer Placeholder 7">
            <a:extLst>
              <a:ext uri="{FF2B5EF4-FFF2-40B4-BE49-F238E27FC236}">
                <a16:creationId xmlns:a16="http://schemas.microsoft.com/office/drawing/2014/main" id="{144EF61C-636E-7B9C-CF0A-ABC87D990751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>
          <a:xfrm>
            <a:off x="5880100" y="6381329"/>
            <a:ext cx="4680000" cy="216024"/>
          </a:xfrm>
        </p:spPr>
        <p:txBody>
          <a:bodyPr/>
          <a:lstStyle/>
          <a:p>
            <a:r>
              <a:rPr lang="en-GB"/>
              <a:t>Training Packaging Process Kaufland private lab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A1F3DD-6EC4-6366-AD5B-0E9B038112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43B15C8-972D-49F6-9B7C-5A2154A8C95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78" name="Date Placeholder 5">
            <a:extLst>
              <a:ext uri="{FF2B5EF4-FFF2-40B4-BE49-F238E27FC236}">
                <a16:creationId xmlns:a16="http://schemas.microsoft.com/office/drawing/2014/main" id="{4D590167-3D04-4AE0-A5DC-C7C05631E84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632504" y="6381328"/>
            <a:ext cx="720000" cy="216024"/>
          </a:xfrm>
        </p:spPr>
        <p:txBody>
          <a:bodyPr/>
          <a:lstStyle/>
          <a:p>
            <a:r>
              <a:rPr lang="en-GB"/>
              <a:t>|  10/10/2022 |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53FA04E0-4796-4918-BF2F-99E1469B5804}"/>
              </a:ext>
            </a:extLst>
          </p:cNvPr>
          <p:cNvSpPr txBox="1"/>
          <p:nvPr/>
        </p:nvSpPr>
        <p:spPr bwMode="gray">
          <a:xfrm>
            <a:off x="7443748" y="3065319"/>
            <a:ext cx="4194375" cy="1272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b="1">
                <a:solidFill>
                  <a:schemeClr val="bg1"/>
                </a:solidFill>
              </a:rPr>
              <a:t>Please ensure clear wording in the corrections! 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400" b="1">
                <a:solidFill>
                  <a:schemeClr val="bg1"/>
                </a:solidFill>
              </a:rPr>
              <a:t>Open questions must be clarified with the test institute before they are forwarded to Kaufland.</a:t>
            </a:r>
          </a:p>
        </p:txBody>
      </p:sp>
    </p:spTree>
    <p:extLst>
      <p:ext uri="{BB962C8B-B14F-4D97-AF65-F5344CB8AC3E}">
        <p14:creationId xmlns:p14="http://schemas.microsoft.com/office/powerpoint/2010/main" val="299629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Kaufland">
  <a:themeElements>
    <a:clrScheme name="KAUFLAND">
      <a:dk1>
        <a:srgbClr val="000000"/>
      </a:dk1>
      <a:lt1>
        <a:srgbClr val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28575">
          <a:solidFill>
            <a:schemeClr val="tx2"/>
          </a:solidFill>
        </a:ln>
      </a:spPr>
      <a:bodyPr lIns="72000" tIns="72000" rIns="72000" bIns="72000" rtlCol="0" anchor="ctr" anchorCtr="0"/>
      <a:lstStyle>
        <a:defPPr marL="180975" indent="-180975" algn="l">
          <a:spcBef>
            <a:spcPts val="300"/>
          </a:spcBef>
          <a:spcAft>
            <a:spcPts val="300"/>
          </a:spcAft>
          <a:buClr>
            <a:schemeClr val="accent4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28575">
          <a:noFill/>
          <a:miter lim="800000"/>
        </a:ln>
      </a:spPr>
      <a:bodyPr wrap="none" lIns="0" tIns="0" rIns="0" bIns="0" rtlCol="0">
        <a:noAutofit/>
      </a:bodyPr>
      <a:lstStyle>
        <a:defPPr marL="176400" indent="-176400" algn="l">
          <a:spcBef>
            <a:spcPts val="300"/>
          </a:spcBef>
          <a:spcAft>
            <a:spcPts val="300"/>
          </a:spcAft>
          <a:buClr>
            <a:schemeClr val="accent4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Kaufland Grau">
      <a:srgbClr val="676154"/>
    </a:custClr>
    <a:custClr name="Kaufland Gruen">
      <a:srgbClr val="8DC63F"/>
    </a:custClr>
    <a:custClr name="Kaufland Orange">
      <a:srgbClr val="F99D1C"/>
    </a:custClr>
    <a:custClr name="Kaufland Blau">
      <a:srgbClr val="618A9B"/>
    </a:custClr>
    <a:custClr name="Kaufland Hellblau">
      <a:srgbClr val="8BB7D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bstufung 1">
      <a:srgbClr val="949087"/>
    </a:custClr>
    <a:custClr name="Abstufung 1">
      <a:srgbClr val="AFD778"/>
    </a:custClr>
    <a:custClr name="Abstufung 1">
      <a:srgbClr val="FBBA60"/>
    </a:custClr>
    <a:custClr name="Abstufung 1">
      <a:srgbClr val="90ADB9"/>
    </a:custClr>
    <a:custClr name="Abstufung 1">
      <a:srgbClr val="AECC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bstufung 2">
      <a:srgbClr val="B3B0A9"/>
    </a:custClr>
    <a:custClr name="Abstufung 2">
      <a:srgbClr val="C6E29F"/>
    </a:custClr>
    <a:custClr name="Abstufung 2">
      <a:srgbClr val="FCCE8D"/>
    </a:custClr>
    <a:custClr name="Abstufung 2">
      <a:srgbClr val="B0C4CD"/>
    </a:custClr>
    <a:custClr name="Abstufung 2">
      <a:srgbClr val="C5DBE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Kaufland Master DE_" id="{E2CE2763-39C9-4F81-99ED-9494B5F25ACF}" vid="{3941BBE4-7310-446E-BE73-4C010D8B4E58}"/>
    </a:ext>
  </a:extLst>
</a:theme>
</file>

<file path=ppt/theme/theme2.xml><?xml version="1.0" encoding="utf-8"?>
<a:theme xmlns:a="http://schemas.openxmlformats.org/drawingml/2006/main" name="Office">
  <a:themeElements>
    <a:clrScheme name="KAUFLAND">
      <a:dk1>
        <a:srgbClr val="000000"/>
      </a:dk1>
      <a:lt1>
        <a:srgbClr val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KAUFLAND">
      <a:dk1>
        <a:srgbClr val="000000"/>
      </a:dk1>
      <a:lt1>
        <a:srgbClr val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3</Words>
  <Application>Microsoft Office PowerPoint</Application>
  <PresentationFormat>Breitbild</PresentationFormat>
  <Paragraphs>3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Kaufland Office</vt:lpstr>
      <vt:lpstr>Symbol</vt:lpstr>
      <vt:lpstr>Wingdings</vt:lpstr>
      <vt:lpstr>Kaufland</vt:lpstr>
      <vt:lpstr>think-cell Folie</vt:lpstr>
      <vt:lpstr>Exkurs: Prüfinstitut – Verkehrsfähigkeitsprüfung</vt:lpstr>
      <vt:lpstr>Addendum: Test institute – marketability re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kurs: Prüfinstitut – Verkehrsfähigkeitsprüfung</dc:title>
  <dc:creator>Stefanie Zinnack</dc:creator>
  <dc:description/>
  <cp:lastModifiedBy>Stefanie Zinnack</cp:lastModifiedBy>
  <cp:revision>1</cp:revision>
  <dcterms:created xsi:type="dcterms:W3CDTF">2023-08-18T09:40:20Z</dcterms:created>
  <dcterms:modified xsi:type="dcterms:W3CDTF">2023-08-18T09:44:51Z</dcterms:modified>
</cp:coreProperties>
</file>